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5"/>
  </p:notesMasterIdLst>
  <p:sldIdLst>
    <p:sldId id="265" r:id="rId5"/>
    <p:sldId id="266" r:id="rId6"/>
    <p:sldId id="285" r:id="rId7"/>
    <p:sldId id="300" r:id="rId8"/>
    <p:sldId id="314" r:id="rId9"/>
    <p:sldId id="303" r:id="rId10"/>
    <p:sldId id="311" r:id="rId11"/>
    <p:sldId id="312" r:id="rId12"/>
    <p:sldId id="313" r:id="rId13"/>
    <p:sldId id="298" r:id="rId14"/>
  </p:sldIdLst>
  <p:sldSz cx="12192000" cy="6858000"/>
  <p:notesSz cx="6669088" cy="9926638"/>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8CB5B0C-FF46-CF3F-11EA-C1D2CCA6263B}" name="SERRA Anne (GROW)" initials="AS" userId="S::Anne.SERRA@ec.europa.eu::376f5512-3b52-4eb7-aba1-fd15e579fe64" providerId="AD"/>
  <p188:author id="{FA7026A5-075A-1F9D-18C5-2BCD93B54690}" name="Annett Schuessling / VDA" initials="AS" userId="Annett Schuessling / VDA" providerId="None"/>
  <p188:author id="{603565D3-1747-0152-2179-C1C3B384D65C}" name="Schüßling, Annett" initials="SA" userId="S::annett.schuessling@vda.de::3279303a-a817-4eb2-8840-fa0593bd623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Stijl, gemiddeld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355" autoAdjust="0"/>
    <p:restoredTop sz="87192" autoAdjust="0"/>
  </p:normalViewPr>
  <p:slideViewPr>
    <p:cSldViewPr snapToGrid="0">
      <p:cViewPr varScale="1">
        <p:scale>
          <a:sx n="156" d="100"/>
          <a:sy n="156" d="100"/>
        </p:scale>
        <p:origin x="78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endParaRPr lang="en-GB"/>
          </a:p>
        </p:txBody>
      </p:sp>
      <p:sp>
        <p:nvSpPr>
          <p:cNvPr id="3" name="Tijdelijke aanduiding voor datum 2"/>
          <p:cNvSpPr>
            <a:spLocks noGrp="1"/>
          </p:cNvSpPr>
          <p:nvPr>
            <p:ph type="dt" idx="1"/>
          </p:nvPr>
        </p:nvSpPr>
        <p:spPr>
          <a:xfrm>
            <a:off x="3777607" y="0"/>
            <a:ext cx="2889938" cy="498056"/>
          </a:xfrm>
          <a:prstGeom prst="rect">
            <a:avLst/>
          </a:prstGeom>
        </p:spPr>
        <p:txBody>
          <a:bodyPr vert="horz" lIns="91440" tIns="45720" rIns="91440" bIns="45720" rtlCol="0"/>
          <a:lstStyle>
            <a:lvl1pPr algn="r">
              <a:defRPr sz="1200"/>
            </a:lvl1pPr>
          </a:lstStyle>
          <a:p>
            <a:fld id="{BF4B4914-4BC0-40D6-B494-059CD6B36C43}" type="datetimeFigureOut">
              <a:rPr lang="en-GB" smtClean="0"/>
              <a:t>29/08/2025</a:t>
            </a:fld>
            <a:endParaRPr lang="en-GB"/>
          </a:p>
        </p:txBody>
      </p:sp>
      <p:sp>
        <p:nvSpPr>
          <p:cNvPr id="4" name="Tijdelijke aanduiding voor dia-afbeelding 3"/>
          <p:cNvSpPr>
            <a:spLocks noGrp="1" noRot="1" noChangeAspect="1"/>
          </p:cNvSpPr>
          <p:nvPr>
            <p:ph type="sldImg" idx="2"/>
          </p:nvPr>
        </p:nvSpPr>
        <p:spPr>
          <a:xfrm>
            <a:off x="357188" y="1241425"/>
            <a:ext cx="5954712"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Tijdelijke aanduiding voor notities 4"/>
          <p:cNvSpPr>
            <a:spLocks noGrp="1"/>
          </p:cNvSpPr>
          <p:nvPr>
            <p:ph type="body" sz="quarter" idx="3"/>
          </p:nvPr>
        </p:nvSpPr>
        <p:spPr>
          <a:xfrm>
            <a:off x="666909" y="4777194"/>
            <a:ext cx="5335270" cy="3908614"/>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6" name="Tijdelijke aanduiding voor voettekst 5"/>
          <p:cNvSpPr>
            <a:spLocks noGrp="1"/>
          </p:cNvSpPr>
          <p:nvPr>
            <p:ph type="ftr" sz="quarter" idx="4"/>
          </p:nvPr>
        </p:nvSpPr>
        <p:spPr>
          <a:xfrm>
            <a:off x="0" y="9428584"/>
            <a:ext cx="2889938" cy="498055"/>
          </a:xfrm>
          <a:prstGeom prst="rect">
            <a:avLst/>
          </a:prstGeom>
        </p:spPr>
        <p:txBody>
          <a:bodyPr vert="horz" lIns="91440" tIns="45720" rIns="91440" bIns="45720" rtlCol="0" anchor="b"/>
          <a:lstStyle>
            <a:lvl1pPr algn="l">
              <a:defRPr sz="1200"/>
            </a:lvl1pPr>
          </a:lstStyle>
          <a:p>
            <a:endParaRPr lang="en-GB"/>
          </a:p>
        </p:txBody>
      </p:sp>
      <p:sp>
        <p:nvSpPr>
          <p:cNvPr id="7" name="Tijdelijke aanduiding voor dianummer 6"/>
          <p:cNvSpPr>
            <a:spLocks noGrp="1"/>
          </p:cNvSpPr>
          <p:nvPr>
            <p:ph type="sldNum" sz="quarter" idx="5"/>
          </p:nvPr>
        </p:nvSpPr>
        <p:spPr>
          <a:xfrm>
            <a:off x="3777607" y="9428584"/>
            <a:ext cx="2889938" cy="498055"/>
          </a:xfrm>
          <a:prstGeom prst="rect">
            <a:avLst/>
          </a:prstGeom>
        </p:spPr>
        <p:txBody>
          <a:bodyPr vert="horz" lIns="91440" tIns="45720" rIns="91440" bIns="45720" rtlCol="0" anchor="b"/>
          <a:lstStyle>
            <a:lvl1pPr algn="r">
              <a:defRPr sz="1200"/>
            </a:lvl1pPr>
          </a:lstStyle>
          <a:p>
            <a:fld id="{73FF325B-5E72-4A45-836B-78262F887081}" type="slidenum">
              <a:rPr lang="en-GB" smtClean="0"/>
              <a:t>‹#›</a:t>
            </a:fld>
            <a:endParaRPr lang="en-GB"/>
          </a:p>
        </p:txBody>
      </p:sp>
    </p:spTree>
    <p:extLst>
      <p:ext uri="{BB962C8B-B14F-4D97-AF65-F5344CB8AC3E}">
        <p14:creationId xmlns:p14="http://schemas.microsoft.com/office/powerpoint/2010/main" val="3551833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2</a:t>
            </a:fld>
            <a:endParaRPr lang="de-DE" dirty="0"/>
          </a:p>
        </p:txBody>
      </p:sp>
    </p:spTree>
    <p:extLst>
      <p:ext uri="{BB962C8B-B14F-4D97-AF65-F5344CB8AC3E}">
        <p14:creationId xmlns:p14="http://schemas.microsoft.com/office/powerpoint/2010/main" val="22091276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0A96E7-760D-39C8-0360-F12410B9CAA1}"/>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endParaRPr lang="en-GB"/>
          </a:p>
        </p:txBody>
      </p:sp>
      <p:sp>
        <p:nvSpPr>
          <p:cNvPr id="3" name="Ondertitel 2">
            <a:extLst>
              <a:ext uri="{FF2B5EF4-FFF2-40B4-BE49-F238E27FC236}">
                <a16:creationId xmlns:a16="http://schemas.microsoft.com/office/drawing/2014/main" id="{DAD11716-7F8C-B4D3-A043-F34DBC8A38F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en-GB"/>
          </a:p>
        </p:txBody>
      </p:sp>
      <p:sp>
        <p:nvSpPr>
          <p:cNvPr id="4" name="Tijdelijke aanduiding voor datum 3">
            <a:extLst>
              <a:ext uri="{FF2B5EF4-FFF2-40B4-BE49-F238E27FC236}">
                <a16:creationId xmlns:a16="http://schemas.microsoft.com/office/drawing/2014/main" id="{2DA5852B-3A64-D6CC-BEA0-80F475EDBAF3}"/>
              </a:ext>
            </a:extLst>
          </p:cNvPr>
          <p:cNvSpPr>
            <a:spLocks noGrp="1"/>
          </p:cNvSpPr>
          <p:nvPr>
            <p:ph type="dt" sz="half" idx="10"/>
          </p:nvPr>
        </p:nvSpPr>
        <p:spPr/>
        <p:txBody>
          <a:bodyPr/>
          <a:lstStyle/>
          <a:p>
            <a:fld id="{1A1E4339-8C5D-4E43-87A8-FF8DBEC4124C}" type="datetime1">
              <a:rPr lang="en-GB" smtClean="0"/>
              <a:t>29/08/2025</a:t>
            </a:fld>
            <a:endParaRPr lang="en-GB"/>
          </a:p>
        </p:txBody>
      </p:sp>
      <p:sp>
        <p:nvSpPr>
          <p:cNvPr id="5" name="Tijdelijke aanduiding voor voettekst 4">
            <a:extLst>
              <a:ext uri="{FF2B5EF4-FFF2-40B4-BE49-F238E27FC236}">
                <a16:creationId xmlns:a16="http://schemas.microsoft.com/office/drawing/2014/main" id="{3F2B46D3-BCEC-325D-84D8-D46B2FEE9765}"/>
              </a:ext>
            </a:extLst>
          </p:cNvPr>
          <p:cNvSpPr>
            <a:spLocks noGrp="1"/>
          </p:cNvSpPr>
          <p:nvPr>
            <p:ph type="ftr" sz="quarter" idx="11"/>
          </p:nvPr>
        </p:nvSpPr>
        <p:spPr/>
        <p:txBody>
          <a:bodyPr/>
          <a:lstStyle/>
          <a:p>
            <a:r>
              <a:rPr lang="en-GB"/>
              <a:t>IWG RD-ASEP SG R138 &amp; R51 / Status Report GRBP-82</a:t>
            </a:r>
          </a:p>
        </p:txBody>
      </p:sp>
      <p:sp>
        <p:nvSpPr>
          <p:cNvPr id="6" name="Tijdelijke aanduiding voor dianummer 5">
            <a:extLst>
              <a:ext uri="{FF2B5EF4-FFF2-40B4-BE49-F238E27FC236}">
                <a16:creationId xmlns:a16="http://schemas.microsoft.com/office/drawing/2014/main" id="{EF640C42-DCDA-D258-C3DD-D1EE7DF32705}"/>
              </a:ext>
            </a:extLst>
          </p:cNvPr>
          <p:cNvSpPr>
            <a:spLocks noGrp="1"/>
          </p:cNvSpPr>
          <p:nvPr>
            <p:ph type="sldNum" sz="quarter" idx="12"/>
          </p:nvPr>
        </p:nvSpPr>
        <p:spPr/>
        <p:txBody>
          <a:bodyPr/>
          <a:lstStyle/>
          <a:p>
            <a:fld id="{B72E1402-C48D-4BE1-B5C4-3ED179C88C9E}" type="slidenum">
              <a:rPr lang="en-GB" smtClean="0"/>
              <a:t>‹#›</a:t>
            </a:fld>
            <a:endParaRPr lang="en-GB"/>
          </a:p>
        </p:txBody>
      </p:sp>
    </p:spTree>
    <p:extLst>
      <p:ext uri="{BB962C8B-B14F-4D97-AF65-F5344CB8AC3E}">
        <p14:creationId xmlns:p14="http://schemas.microsoft.com/office/powerpoint/2010/main" val="6977684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004B15-1981-EB10-3CEB-70B8D5309CE6}"/>
              </a:ext>
            </a:extLst>
          </p:cNvPr>
          <p:cNvSpPr>
            <a:spLocks noGrp="1"/>
          </p:cNvSpPr>
          <p:nvPr>
            <p:ph type="title"/>
          </p:nvPr>
        </p:nvSpPr>
        <p:spPr/>
        <p:txBody>
          <a:bodyPr/>
          <a:lstStyle/>
          <a:p>
            <a:r>
              <a:rPr lang="nl-NL"/>
              <a:t>Klik om stijl te bewerken</a:t>
            </a:r>
            <a:endParaRPr lang="en-GB"/>
          </a:p>
        </p:txBody>
      </p:sp>
      <p:sp>
        <p:nvSpPr>
          <p:cNvPr id="3" name="Tijdelijke aanduiding voor verticale tekst 2">
            <a:extLst>
              <a:ext uri="{FF2B5EF4-FFF2-40B4-BE49-F238E27FC236}">
                <a16:creationId xmlns:a16="http://schemas.microsoft.com/office/drawing/2014/main" id="{A6292981-3476-378C-8886-50C6F908E0E1}"/>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a:extLst>
              <a:ext uri="{FF2B5EF4-FFF2-40B4-BE49-F238E27FC236}">
                <a16:creationId xmlns:a16="http://schemas.microsoft.com/office/drawing/2014/main" id="{C94E7D3B-6DF4-18B9-DF73-29B55A590C71}"/>
              </a:ext>
            </a:extLst>
          </p:cNvPr>
          <p:cNvSpPr>
            <a:spLocks noGrp="1"/>
          </p:cNvSpPr>
          <p:nvPr>
            <p:ph type="dt" sz="half" idx="10"/>
          </p:nvPr>
        </p:nvSpPr>
        <p:spPr/>
        <p:txBody>
          <a:bodyPr/>
          <a:lstStyle/>
          <a:p>
            <a:fld id="{C9CBCA66-541F-48F9-BB51-0AC37FBA1ED6}" type="datetime1">
              <a:rPr lang="en-GB" smtClean="0"/>
              <a:t>29/08/2025</a:t>
            </a:fld>
            <a:endParaRPr lang="en-GB"/>
          </a:p>
        </p:txBody>
      </p:sp>
      <p:sp>
        <p:nvSpPr>
          <p:cNvPr id="5" name="Tijdelijke aanduiding voor voettekst 4">
            <a:extLst>
              <a:ext uri="{FF2B5EF4-FFF2-40B4-BE49-F238E27FC236}">
                <a16:creationId xmlns:a16="http://schemas.microsoft.com/office/drawing/2014/main" id="{845BD984-1C37-EDD6-091B-847861CC6A50}"/>
              </a:ext>
            </a:extLst>
          </p:cNvPr>
          <p:cNvSpPr>
            <a:spLocks noGrp="1"/>
          </p:cNvSpPr>
          <p:nvPr>
            <p:ph type="ftr" sz="quarter" idx="11"/>
          </p:nvPr>
        </p:nvSpPr>
        <p:spPr/>
        <p:txBody>
          <a:bodyPr/>
          <a:lstStyle/>
          <a:p>
            <a:r>
              <a:rPr lang="en-GB"/>
              <a:t>IWG RD-ASEP SG R138 &amp; R51 / Status Report GRBP-82</a:t>
            </a:r>
          </a:p>
        </p:txBody>
      </p:sp>
      <p:sp>
        <p:nvSpPr>
          <p:cNvPr id="6" name="Tijdelijke aanduiding voor dianummer 5">
            <a:extLst>
              <a:ext uri="{FF2B5EF4-FFF2-40B4-BE49-F238E27FC236}">
                <a16:creationId xmlns:a16="http://schemas.microsoft.com/office/drawing/2014/main" id="{73AD43A6-8A92-D9EA-7C41-064DE96EC052}"/>
              </a:ext>
            </a:extLst>
          </p:cNvPr>
          <p:cNvSpPr>
            <a:spLocks noGrp="1"/>
          </p:cNvSpPr>
          <p:nvPr>
            <p:ph type="sldNum" sz="quarter" idx="12"/>
          </p:nvPr>
        </p:nvSpPr>
        <p:spPr/>
        <p:txBody>
          <a:bodyPr/>
          <a:lstStyle/>
          <a:p>
            <a:fld id="{B72E1402-C48D-4BE1-B5C4-3ED179C88C9E}" type="slidenum">
              <a:rPr lang="en-GB" smtClean="0"/>
              <a:t>‹#›</a:t>
            </a:fld>
            <a:endParaRPr lang="en-GB"/>
          </a:p>
        </p:txBody>
      </p:sp>
    </p:spTree>
    <p:extLst>
      <p:ext uri="{BB962C8B-B14F-4D97-AF65-F5344CB8AC3E}">
        <p14:creationId xmlns:p14="http://schemas.microsoft.com/office/powerpoint/2010/main" val="42866381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7F028BA7-3335-EB65-8EE9-D9FD90F58E75}"/>
              </a:ext>
            </a:extLst>
          </p:cNvPr>
          <p:cNvSpPr>
            <a:spLocks noGrp="1"/>
          </p:cNvSpPr>
          <p:nvPr>
            <p:ph type="title" orient="vert"/>
          </p:nvPr>
        </p:nvSpPr>
        <p:spPr>
          <a:xfrm>
            <a:off x="8724900" y="365125"/>
            <a:ext cx="2628900" cy="5811838"/>
          </a:xfrm>
        </p:spPr>
        <p:txBody>
          <a:bodyPr vert="eaVert"/>
          <a:lstStyle/>
          <a:p>
            <a:r>
              <a:rPr lang="nl-NL"/>
              <a:t>Klik om stijl te bewerken</a:t>
            </a:r>
            <a:endParaRPr lang="en-GB"/>
          </a:p>
        </p:txBody>
      </p:sp>
      <p:sp>
        <p:nvSpPr>
          <p:cNvPr id="3" name="Tijdelijke aanduiding voor verticale tekst 2">
            <a:extLst>
              <a:ext uri="{FF2B5EF4-FFF2-40B4-BE49-F238E27FC236}">
                <a16:creationId xmlns:a16="http://schemas.microsoft.com/office/drawing/2014/main" id="{BF76D7C2-4643-0175-8D0D-8A08F79C4EC4}"/>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a:extLst>
              <a:ext uri="{FF2B5EF4-FFF2-40B4-BE49-F238E27FC236}">
                <a16:creationId xmlns:a16="http://schemas.microsoft.com/office/drawing/2014/main" id="{6180F64F-21FA-13A1-0086-5D5CCE1F8FE6}"/>
              </a:ext>
            </a:extLst>
          </p:cNvPr>
          <p:cNvSpPr>
            <a:spLocks noGrp="1"/>
          </p:cNvSpPr>
          <p:nvPr>
            <p:ph type="dt" sz="half" idx="10"/>
          </p:nvPr>
        </p:nvSpPr>
        <p:spPr/>
        <p:txBody>
          <a:bodyPr/>
          <a:lstStyle/>
          <a:p>
            <a:fld id="{8CBEF895-0073-4C2C-B680-E1BCE6D31186}" type="datetime1">
              <a:rPr lang="en-GB" smtClean="0"/>
              <a:t>29/08/2025</a:t>
            </a:fld>
            <a:endParaRPr lang="en-GB"/>
          </a:p>
        </p:txBody>
      </p:sp>
      <p:sp>
        <p:nvSpPr>
          <p:cNvPr id="5" name="Tijdelijke aanduiding voor voettekst 4">
            <a:extLst>
              <a:ext uri="{FF2B5EF4-FFF2-40B4-BE49-F238E27FC236}">
                <a16:creationId xmlns:a16="http://schemas.microsoft.com/office/drawing/2014/main" id="{B8DDD6F2-4EF4-EE3F-E2F0-6B9BEE6C8F07}"/>
              </a:ext>
            </a:extLst>
          </p:cNvPr>
          <p:cNvSpPr>
            <a:spLocks noGrp="1"/>
          </p:cNvSpPr>
          <p:nvPr>
            <p:ph type="ftr" sz="quarter" idx="11"/>
          </p:nvPr>
        </p:nvSpPr>
        <p:spPr/>
        <p:txBody>
          <a:bodyPr/>
          <a:lstStyle/>
          <a:p>
            <a:r>
              <a:rPr lang="en-GB"/>
              <a:t>IWG RD-ASEP SG R138 &amp; R51 / Status Report GRBP-82</a:t>
            </a:r>
          </a:p>
        </p:txBody>
      </p:sp>
      <p:sp>
        <p:nvSpPr>
          <p:cNvPr id="6" name="Tijdelijke aanduiding voor dianummer 5">
            <a:extLst>
              <a:ext uri="{FF2B5EF4-FFF2-40B4-BE49-F238E27FC236}">
                <a16:creationId xmlns:a16="http://schemas.microsoft.com/office/drawing/2014/main" id="{F195464F-09DC-276C-B920-CFAD15B81211}"/>
              </a:ext>
            </a:extLst>
          </p:cNvPr>
          <p:cNvSpPr>
            <a:spLocks noGrp="1"/>
          </p:cNvSpPr>
          <p:nvPr>
            <p:ph type="sldNum" sz="quarter" idx="12"/>
          </p:nvPr>
        </p:nvSpPr>
        <p:spPr/>
        <p:txBody>
          <a:bodyPr/>
          <a:lstStyle/>
          <a:p>
            <a:fld id="{B72E1402-C48D-4BE1-B5C4-3ED179C88C9E}" type="slidenum">
              <a:rPr lang="en-GB" smtClean="0"/>
              <a:t>‹#›</a:t>
            </a:fld>
            <a:endParaRPr lang="en-GB"/>
          </a:p>
        </p:txBody>
      </p:sp>
    </p:spTree>
    <p:extLst>
      <p:ext uri="{BB962C8B-B14F-4D97-AF65-F5344CB8AC3E}">
        <p14:creationId xmlns:p14="http://schemas.microsoft.com/office/powerpoint/2010/main" val="9653574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3D193D-C45E-44E0-804D-82883133DBB6}"/>
              </a:ext>
            </a:extLst>
          </p:cNvPr>
          <p:cNvSpPr>
            <a:spLocks noGrp="1"/>
          </p:cNvSpPr>
          <p:nvPr>
            <p:ph type="title"/>
          </p:nvPr>
        </p:nvSpPr>
        <p:spPr bwMode="gray"/>
        <p:txBody>
          <a:bodyPr/>
          <a:lstStyle/>
          <a:p>
            <a:r>
              <a:rPr lang="de-DE" dirty="0"/>
              <a:t>Mastertitelformat bearbeiten</a:t>
            </a:r>
          </a:p>
        </p:txBody>
      </p:sp>
      <p:sp>
        <p:nvSpPr>
          <p:cNvPr id="3" name="Textplatzhalter 5">
            <a:extLst>
              <a:ext uri="{FF2B5EF4-FFF2-40B4-BE49-F238E27FC236}">
                <a16:creationId xmlns:a16="http://schemas.microsoft.com/office/drawing/2014/main" id="{3DA8FBB8-F138-4EBE-B59C-7ACA0C1B5C55}"/>
              </a:ext>
            </a:extLst>
          </p:cNvPr>
          <p:cNvSpPr>
            <a:spLocks noGrp="1"/>
          </p:cNvSpPr>
          <p:nvPr>
            <p:ph type="body" sz="quarter" idx="12"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42946563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380521-DBE8-1EF3-16B5-E35D73166CD4}"/>
              </a:ext>
            </a:extLst>
          </p:cNvPr>
          <p:cNvSpPr>
            <a:spLocks noGrp="1"/>
          </p:cNvSpPr>
          <p:nvPr>
            <p:ph type="title"/>
          </p:nvPr>
        </p:nvSpPr>
        <p:spPr/>
        <p:txBody>
          <a:bodyPr/>
          <a:lstStyle/>
          <a:p>
            <a:r>
              <a:rPr lang="nl-NL"/>
              <a:t>Klik om stijl te bewerken</a:t>
            </a:r>
            <a:endParaRPr lang="en-GB"/>
          </a:p>
        </p:txBody>
      </p:sp>
      <p:sp>
        <p:nvSpPr>
          <p:cNvPr id="3" name="Tijdelijke aanduiding voor inhoud 2">
            <a:extLst>
              <a:ext uri="{FF2B5EF4-FFF2-40B4-BE49-F238E27FC236}">
                <a16:creationId xmlns:a16="http://schemas.microsoft.com/office/drawing/2014/main" id="{8B20D410-FA28-F5E0-A87B-537626726996}"/>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a:extLst>
              <a:ext uri="{FF2B5EF4-FFF2-40B4-BE49-F238E27FC236}">
                <a16:creationId xmlns:a16="http://schemas.microsoft.com/office/drawing/2014/main" id="{D6C08E6F-EE84-32CD-2862-3A40EFA3A920}"/>
              </a:ext>
            </a:extLst>
          </p:cNvPr>
          <p:cNvSpPr>
            <a:spLocks noGrp="1"/>
          </p:cNvSpPr>
          <p:nvPr>
            <p:ph type="dt" sz="half" idx="10"/>
          </p:nvPr>
        </p:nvSpPr>
        <p:spPr/>
        <p:txBody>
          <a:bodyPr/>
          <a:lstStyle/>
          <a:p>
            <a:fld id="{3E7C34E6-CAEB-4DC3-9453-1EC35737B83D}" type="datetime1">
              <a:rPr lang="en-GB" smtClean="0"/>
              <a:t>29/08/2025</a:t>
            </a:fld>
            <a:endParaRPr lang="en-GB"/>
          </a:p>
        </p:txBody>
      </p:sp>
      <p:sp>
        <p:nvSpPr>
          <p:cNvPr id="5" name="Tijdelijke aanduiding voor voettekst 4">
            <a:extLst>
              <a:ext uri="{FF2B5EF4-FFF2-40B4-BE49-F238E27FC236}">
                <a16:creationId xmlns:a16="http://schemas.microsoft.com/office/drawing/2014/main" id="{B95AB1B4-5F55-BF33-74BF-59DB8EBEE606}"/>
              </a:ext>
            </a:extLst>
          </p:cNvPr>
          <p:cNvSpPr>
            <a:spLocks noGrp="1"/>
          </p:cNvSpPr>
          <p:nvPr>
            <p:ph type="ftr" sz="quarter" idx="11"/>
          </p:nvPr>
        </p:nvSpPr>
        <p:spPr/>
        <p:txBody>
          <a:bodyPr/>
          <a:lstStyle/>
          <a:p>
            <a:r>
              <a:rPr lang="en-GB"/>
              <a:t>IWG RD-ASEP SG R138 &amp; R51 / Status Report GRBP-82</a:t>
            </a:r>
          </a:p>
        </p:txBody>
      </p:sp>
      <p:sp>
        <p:nvSpPr>
          <p:cNvPr id="6" name="Tijdelijke aanduiding voor dianummer 5">
            <a:extLst>
              <a:ext uri="{FF2B5EF4-FFF2-40B4-BE49-F238E27FC236}">
                <a16:creationId xmlns:a16="http://schemas.microsoft.com/office/drawing/2014/main" id="{F03BD22B-5377-C7A1-7076-AE461FC5B1FA}"/>
              </a:ext>
            </a:extLst>
          </p:cNvPr>
          <p:cNvSpPr>
            <a:spLocks noGrp="1"/>
          </p:cNvSpPr>
          <p:nvPr>
            <p:ph type="sldNum" sz="quarter" idx="12"/>
          </p:nvPr>
        </p:nvSpPr>
        <p:spPr/>
        <p:txBody>
          <a:bodyPr/>
          <a:lstStyle/>
          <a:p>
            <a:fld id="{B72E1402-C48D-4BE1-B5C4-3ED179C88C9E}" type="slidenum">
              <a:rPr lang="en-GB" smtClean="0"/>
              <a:t>‹#›</a:t>
            </a:fld>
            <a:endParaRPr lang="en-GB"/>
          </a:p>
        </p:txBody>
      </p:sp>
    </p:spTree>
    <p:extLst>
      <p:ext uri="{BB962C8B-B14F-4D97-AF65-F5344CB8AC3E}">
        <p14:creationId xmlns:p14="http://schemas.microsoft.com/office/powerpoint/2010/main" val="36861459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E5E16EC-78E2-8349-9042-60E4DD9FA2E3}"/>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endParaRPr lang="en-GB"/>
          </a:p>
        </p:txBody>
      </p:sp>
      <p:sp>
        <p:nvSpPr>
          <p:cNvPr id="3" name="Tijdelijke aanduiding voor tekst 2">
            <a:extLst>
              <a:ext uri="{FF2B5EF4-FFF2-40B4-BE49-F238E27FC236}">
                <a16:creationId xmlns:a16="http://schemas.microsoft.com/office/drawing/2014/main" id="{E59E68D9-73DE-3812-770F-DF9C73328B2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F1B3BBC4-64D5-F0AA-B377-B2AB7E714EF2}"/>
              </a:ext>
            </a:extLst>
          </p:cNvPr>
          <p:cNvSpPr>
            <a:spLocks noGrp="1"/>
          </p:cNvSpPr>
          <p:nvPr>
            <p:ph type="dt" sz="half" idx="10"/>
          </p:nvPr>
        </p:nvSpPr>
        <p:spPr/>
        <p:txBody>
          <a:bodyPr/>
          <a:lstStyle/>
          <a:p>
            <a:fld id="{CB85DDBF-B6A9-4466-B4C7-7DDCAEBB3A16}" type="datetime1">
              <a:rPr lang="en-GB" smtClean="0"/>
              <a:t>29/08/2025</a:t>
            </a:fld>
            <a:endParaRPr lang="en-GB"/>
          </a:p>
        </p:txBody>
      </p:sp>
      <p:sp>
        <p:nvSpPr>
          <p:cNvPr id="5" name="Tijdelijke aanduiding voor voettekst 4">
            <a:extLst>
              <a:ext uri="{FF2B5EF4-FFF2-40B4-BE49-F238E27FC236}">
                <a16:creationId xmlns:a16="http://schemas.microsoft.com/office/drawing/2014/main" id="{08DAA94C-18C6-C452-D5FB-8AFD130C3A52}"/>
              </a:ext>
            </a:extLst>
          </p:cNvPr>
          <p:cNvSpPr>
            <a:spLocks noGrp="1"/>
          </p:cNvSpPr>
          <p:nvPr>
            <p:ph type="ftr" sz="quarter" idx="11"/>
          </p:nvPr>
        </p:nvSpPr>
        <p:spPr/>
        <p:txBody>
          <a:bodyPr/>
          <a:lstStyle/>
          <a:p>
            <a:r>
              <a:rPr lang="en-GB"/>
              <a:t>IWG RD-ASEP SG R138 &amp; R51 / Status Report GRBP-82</a:t>
            </a:r>
          </a:p>
        </p:txBody>
      </p:sp>
      <p:sp>
        <p:nvSpPr>
          <p:cNvPr id="6" name="Tijdelijke aanduiding voor dianummer 5">
            <a:extLst>
              <a:ext uri="{FF2B5EF4-FFF2-40B4-BE49-F238E27FC236}">
                <a16:creationId xmlns:a16="http://schemas.microsoft.com/office/drawing/2014/main" id="{CD2213CE-31B3-AB17-5AE0-FFC03DDFD2FF}"/>
              </a:ext>
            </a:extLst>
          </p:cNvPr>
          <p:cNvSpPr>
            <a:spLocks noGrp="1"/>
          </p:cNvSpPr>
          <p:nvPr>
            <p:ph type="sldNum" sz="quarter" idx="12"/>
          </p:nvPr>
        </p:nvSpPr>
        <p:spPr/>
        <p:txBody>
          <a:bodyPr/>
          <a:lstStyle/>
          <a:p>
            <a:fld id="{B72E1402-C48D-4BE1-B5C4-3ED179C88C9E}" type="slidenum">
              <a:rPr lang="en-GB" smtClean="0"/>
              <a:t>‹#›</a:t>
            </a:fld>
            <a:endParaRPr lang="en-GB"/>
          </a:p>
        </p:txBody>
      </p:sp>
    </p:spTree>
    <p:extLst>
      <p:ext uri="{BB962C8B-B14F-4D97-AF65-F5344CB8AC3E}">
        <p14:creationId xmlns:p14="http://schemas.microsoft.com/office/powerpoint/2010/main" val="10200147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9013C7-E812-88E7-EF5E-3637D0A7E60E}"/>
              </a:ext>
            </a:extLst>
          </p:cNvPr>
          <p:cNvSpPr>
            <a:spLocks noGrp="1"/>
          </p:cNvSpPr>
          <p:nvPr>
            <p:ph type="title"/>
          </p:nvPr>
        </p:nvSpPr>
        <p:spPr/>
        <p:txBody>
          <a:bodyPr/>
          <a:lstStyle/>
          <a:p>
            <a:r>
              <a:rPr lang="nl-NL"/>
              <a:t>Klik om stijl te bewerken</a:t>
            </a:r>
            <a:endParaRPr lang="en-GB"/>
          </a:p>
        </p:txBody>
      </p:sp>
      <p:sp>
        <p:nvSpPr>
          <p:cNvPr id="3" name="Tijdelijke aanduiding voor inhoud 2">
            <a:extLst>
              <a:ext uri="{FF2B5EF4-FFF2-40B4-BE49-F238E27FC236}">
                <a16:creationId xmlns:a16="http://schemas.microsoft.com/office/drawing/2014/main" id="{1407E528-4416-FE78-D70D-A0A1E3D31B19}"/>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inhoud 3">
            <a:extLst>
              <a:ext uri="{FF2B5EF4-FFF2-40B4-BE49-F238E27FC236}">
                <a16:creationId xmlns:a16="http://schemas.microsoft.com/office/drawing/2014/main" id="{39B4E518-1F59-697F-5FBC-60C01BB7102A}"/>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5" name="Tijdelijke aanduiding voor datum 4">
            <a:extLst>
              <a:ext uri="{FF2B5EF4-FFF2-40B4-BE49-F238E27FC236}">
                <a16:creationId xmlns:a16="http://schemas.microsoft.com/office/drawing/2014/main" id="{CF1230E1-EEE7-3AE0-FAF8-FF86B83F4A50}"/>
              </a:ext>
            </a:extLst>
          </p:cNvPr>
          <p:cNvSpPr>
            <a:spLocks noGrp="1"/>
          </p:cNvSpPr>
          <p:nvPr>
            <p:ph type="dt" sz="half" idx="10"/>
          </p:nvPr>
        </p:nvSpPr>
        <p:spPr/>
        <p:txBody>
          <a:bodyPr/>
          <a:lstStyle/>
          <a:p>
            <a:fld id="{1D8C65B2-78A1-45D4-97AE-4200910C5CE2}" type="datetime1">
              <a:rPr lang="en-GB" smtClean="0"/>
              <a:t>29/08/2025</a:t>
            </a:fld>
            <a:endParaRPr lang="en-GB"/>
          </a:p>
        </p:txBody>
      </p:sp>
      <p:sp>
        <p:nvSpPr>
          <p:cNvPr id="6" name="Tijdelijke aanduiding voor voettekst 5">
            <a:extLst>
              <a:ext uri="{FF2B5EF4-FFF2-40B4-BE49-F238E27FC236}">
                <a16:creationId xmlns:a16="http://schemas.microsoft.com/office/drawing/2014/main" id="{2DF02BC5-3A20-E67A-3D64-FF8D4CA0667D}"/>
              </a:ext>
            </a:extLst>
          </p:cNvPr>
          <p:cNvSpPr>
            <a:spLocks noGrp="1"/>
          </p:cNvSpPr>
          <p:nvPr>
            <p:ph type="ftr" sz="quarter" idx="11"/>
          </p:nvPr>
        </p:nvSpPr>
        <p:spPr/>
        <p:txBody>
          <a:bodyPr/>
          <a:lstStyle/>
          <a:p>
            <a:r>
              <a:rPr lang="en-GB"/>
              <a:t>IWG RD-ASEP SG R138 &amp; R51 / Status Report GRBP-82</a:t>
            </a:r>
          </a:p>
        </p:txBody>
      </p:sp>
      <p:sp>
        <p:nvSpPr>
          <p:cNvPr id="7" name="Tijdelijke aanduiding voor dianummer 6">
            <a:extLst>
              <a:ext uri="{FF2B5EF4-FFF2-40B4-BE49-F238E27FC236}">
                <a16:creationId xmlns:a16="http://schemas.microsoft.com/office/drawing/2014/main" id="{E5A72F93-AE86-D6EC-F536-AA48F25B5375}"/>
              </a:ext>
            </a:extLst>
          </p:cNvPr>
          <p:cNvSpPr>
            <a:spLocks noGrp="1"/>
          </p:cNvSpPr>
          <p:nvPr>
            <p:ph type="sldNum" sz="quarter" idx="12"/>
          </p:nvPr>
        </p:nvSpPr>
        <p:spPr/>
        <p:txBody>
          <a:bodyPr/>
          <a:lstStyle/>
          <a:p>
            <a:fld id="{B72E1402-C48D-4BE1-B5C4-3ED179C88C9E}" type="slidenum">
              <a:rPr lang="en-GB" smtClean="0"/>
              <a:t>‹#›</a:t>
            </a:fld>
            <a:endParaRPr lang="en-GB"/>
          </a:p>
        </p:txBody>
      </p:sp>
    </p:spTree>
    <p:extLst>
      <p:ext uri="{BB962C8B-B14F-4D97-AF65-F5344CB8AC3E}">
        <p14:creationId xmlns:p14="http://schemas.microsoft.com/office/powerpoint/2010/main" val="42190343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8BC6BBF-7CDD-5B4A-60F4-046C404CFA80}"/>
              </a:ext>
            </a:extLst>
          </p:cNvPr>
          <p:cNvSpPr>
            <a:spLocks noGrp="1"/>
          </p:cNvSpPr>
          <p:nvPr>
            <p:ph type="title"/>
          </p:nvPr>
        </p:nvSpPr>
        <p:spPr>
          <a:xfrm>
            <a:off x="839788" y="365125"/>
            <a:ext cx="10515600" cy="1325563"/>
          </a:xfrm>
        </p:spPr>
        <p:txBody>
          <a:bodyPr/>
          <a:lstStyle/>
          <a:p>
            <a:r>
              <a:rPr lang="nl-NL"/>
              <a:t>Klik om stijl te bewerken</a:t>
            </a:r>
            <a:endParaRPr lang="en-GB"/>
          </a:p>
        </p:txBody>
      </p:sp>
      <p:sp>
        <p:nvSpPr>
          <p:cNvPr id="3" name="Tijdelijke aanduiding voor tekst 2">
            <a:extLst>
              <a:ext uri="{FF2B5EF4-FFF2-40B4-BE49-F238E27FC236}">
                <a16:creationId xmlns:a16="http://schemas.microsoft.com/office/drawing/2014/main" id="{04E49A90-C89D-19D4-C88B-44EA906D0C4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1A88ED1F-8593-0E39-5BFB-BBC733B6DCC0}"/>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5" name="Tijdelijke aanduiding voor tekst 4">
            <a:extLst>
              <a:ext uri="{FF2B5EF4-FFF2-40B4-BE49-F238E27FC236}">
                <a16:creationId xmlns:a16="http://schemas.microsoft.com/office/drawing/2014/main" id="{E3D3EEAD-673B-E033-37CC-D1621A6B975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FBBF8D0F-2B83-4275-2562-3AAFC4C35B31}"/>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7" name="Tijdelijke aanduiding voor datum 6">
            <a:extLst>
              <a:ext uri="{FF2B5EF4-FFF2-40B4-BE49-F238E27FC236}">
                <a16:creationId xmlns:a16="http://schemas.microsoft.com/office/drawing/2014/main" id="{0BEF7515-CBFA-E4FA-8593-974746C00049}"/>
              </a:ext>
            </a:extLst>
          </p:cNvPr>
          <p:cNvSpPr>
            <a:spLocks noGrp="1"/>
          </p:cNvSpPr>
          <p:nvPr>
            <p:ph type="dt" sz="half" idx="10"/>
          </p:nvPr>
        </p:nvSpPr>
        <p:spPr/>
        <p:txBody>
          <a:bodyPr/>
          <a:lstStyle/>
          <a:p>
            <a:fld id="{D74AAD45-2B80-4B05-A8BC-3C83902E4640}" type="datetime1">
              <a:rPr lang="en-GB" smtClean="0"/>
              <a:t>29/08/2025</a:t>
            </a:fld>
            <a:endParaRPr lang="en-GB"/>
          </a:p>
        </p:txBody>
      </p:sp>
      <p:sp>
        <p:nvSpPr>
          <p:cNvPr id="8" name="Tijdelijke aanduiding voor voettekst 7">
            <a:extLst>
              <a:ext uri="{FF2B5EF4-FFF2-40B4-BE49-F238E27FC236}">
                <a16:creationId xmlns:a16="http://schemas.microsoft.com/office/drawing/2014/main" id="{96CDB05F-B87A-D087-B7FF-F91AD3E64C5E}"/>
              </a:ext>
            </a:extLst>
          </p:cNvPr>
          <p:cNvSpPr>
            <a:spLocks noGrp="1"/>
          </p:cNvSpPr>
          <p:nvPr>
            <p:ph type="ftr" sz="quarter" idx="11"/>
          </p:nvPr>
        </p:nvSpPr>
        <p:spPr/>
        <p:txBody>
          <a:bodyPr/>
          <a:lstStyle/>
          <a:p>
            <a:r>
              <a:rPr lang="en-GB"/>
              <a:t>IWG RD-ASEP SG R138 &amp; R51 / Status Report GRBP-82</a:t>
            </a:r>
          </a:p>
        </p:txBody>
      </p:sp>
      <p:sp>
        <p:nvSpPr>
          <p:cNvPr id="9" name="Tijdelijke aanduiding voor dianummer 8">
            <a:extLst>
              <a:ext uri="{FF2B5EF4-FFF2-40B4-BE49-F238E27FC236}">
                <a16:creationId xmlns:a16="http://schemas.microsoft.com/office/drawing/2014/main" id="{321ACF4A-BE64-FD9C-1071-FB1E368F8EAC}"/>
              </a:ext>
            </a:extLst>
          </p:cNvPr>
          <p:cNvSpPr>
            <a:spLocks noGrp="1"/>
          </p:cNvSpPr>
          <p:nvPr>
            <p:ph type="sldNum" sz="quarter" idx="12"/>
          </p:nvPr>
        </p:nvSpPr>
        <p:spPr/>
        <p:txBody>
          <a:bodyPr/>
          <a:lstStyle/>
          <a:p>
            <a:fld id="{B72E1402-C48D-4BE1-B5C4-3ED179C88C9E}" type="slidenum">
              <a:rPr lang="en-GB" smtClean="0"/>
              <a:t>‹#›</a:t>
            </a:fld>
            <a:endParaRPr lang="en-GB"/>
          </a:p>
        </p:txBody>
      </p:sp>
    </p:spTree>
    <p:extLst>
      <p:ext uri="{BB962C8B-B14F-4D97-AF65-F5344CB8AC3E}">
        <p14:creationId xmlns:p14="http://schemas.microsoft.com/office/powerpoint/2010/main" val="23297819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81456FA-68F0-FFC2-8CE7-ED3B3A7DA586}"/>
              </a:ext>
            </a:extLst>
          </p:cNvPr>
          <p:cNvSpPr>
            <a:spLocks noGrp="1"/>
          </p:cNvSpPr>
          <p:nvPr>
            <p:ph type="title"/>
          </p:nvPr>
        </p:nvSpPr>
        <p:spPr/>
        <p:txBody>
          <a:bodyPr/>
          <a:lstStyle/>
          <a:p>
            <a:r>
              <a:rPr lang="nl-NL"/>
              <a:t>Klik om stijl te bewerken</a:t>
            </a:r>
            <a:endParaRPr lang="en-GB"/>
          </a:p>
        </p:txBody>
      </p:sp>
      <p:sp>
        <p:nvSpPr>
          <p:cNvPr id="3" name="Tijdelijke aanduiding voor datum 2">
            <a:extLst>
              <a:ext uri="{FF2B5EF4-FFF2-40B4-BE49-F238E27FC236}">
                <a16:creationId xmlns:a16="http://schemas.microsoft.com/office/drawing/2014/main" id="{EC920EE2-9192-DAD0-F1B2-1E141A6FA3D3}"/>
              </a:ext>
            </a:extLst>
          </p:cNvPr>
          <p:cNvSpPr>
            <a:spLocks noGrp="1"/>
          </p:cNvSpPr>
          <p:nvPr>
            <p:ph type="dt" sz="half" idx="10"/>
          </p:nvPr>
        </p:nvSpPr>
        <p:spPr/>
        <p:txBody>
          <a:bodyPr/>
          <a:lstStyle/>
          <a:p>
            <a:fld id="{6C89379B-48F0-4CC6-9980-44629955D48C}" type="datetime1">
              <a:rPr lang="en-GB" smtClean="0"/>
              <a:t>29/08/2025</a:t>
            </a:fld>
            <a:endParaRPr lang="en-GB"/>
          </a:p>
        </p:txBody>
      </p:sp>
      <p:sp>
        <p:nvSpPr>
          <p:cNvPr id="4" name="Tijdelijke aanduiding voor voettekst 3">
            <a:extLst>
              <a:ext uri="{FF2B5EF4-FFF2-40B4-BE49-F238E27FC236}">
                <a16:creationId xmlns:a16="http://schemas.microsoft.com/office/drawing/2014/main" id="{2551F2BF-9A4B-55C0-3998-6810F0B6A79A}"/>
              </a:ext>
            </a:extLst>
          </p:cNvPr>
          <p:cNvSpPr>
            <a:spLocks noGrp="1"/>
          </p:cNvSpPr>
          <p:nvPr>
            <p:ph type="ftr" sz="quarter" idx="11"/>
          </p:nvPr>
        </p:nvSpPr>
        <p:spPr/>
        <p:txBody>
          <a:bodyPr/>
          <a:lstStyle/>
          <a:p>
            <a:r>
              <a:rPr lang="en-GB"/>
              <a:t>IWG RD-ASEP SG R138 &amp; R51 / Status Report GRBP-82</a:t>
            </a:r>
          </a:p>
        </p:txBody>
      </p:sp>
      <p:sp>
        <p:nvSpPr>
          <p:cNvPr id="5" name="Tijdelijke aanduiding voor dianummer 4">
            <a:extLst>
              <a:ext uri="{FF2B5EF4-FFF2-40B4-BE49-F238E27FC236}">
                <a16:creationId xmlns:a16="http://schemas.microsoft.com/office/drawing/2014/main" id="{B01E9671-1C8A-2D7C-0441-B3CDE3216AC9}"/>
              </a:ext>
            </a:extLst>
          </p:cNvPr>
          <p:cNvSpPr>
            <a:spLocks noGrp="1"/>
          </p:cNvSpPr>
          <p:nvPr>
            <p:ph type="sldNum" sz="quarter" idx="12"/>
          </p:nvPr>
        </p:nvSpPr>
        <p:spPr/>
        <p:txBody>
          <a:bodyPr/>
          <a:lstStyle/>
          <a:p>
            <a:fld id="{B72E1402-C48D-4BE1-B5C4-3ED179C88C9E}" type="slidenum">
              <a:rPr lang="en-GB" smtClean="0"/>
              <a:t>‹#›</a:t>
            </a:fld>
            <a:endParaRPr lang="en-GB"/>
          </a:p>
        </p:txBody>
      </p:sp>
    </p:spTree>
    <p:extLst>
      <p:ext uri="{BB962C8B-B14F-4D97-AF65-F5344CB8AC3E}">
        <p14:creationId xmlns:p14="http://schemas.microsoft.com/office/powerpoint/2010/main" val="1848052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672ED49F-0BBB-1039-B49D-10E9441808CD}"/>
              </a:ext>
            </a:extLst>
          </p:cNvPr>
          <p:cNvSpPr>
            <a:spLocks noGrp="1"/>
          </p:cNvSpPr>
          <p:nvPr>
            <p:ph type="dt" sz="half" idx="10"/>
          </p:nvPr>
        </p:nvSpPr>
        <p:spPr/>
        <p:txBody>
          <a:bodyPr/>
          <a:lstStyle/>
          <a:p>
            <a:fld id="{69312F85-C272-4216-8B7A-DC76B5135EEB}" type="datetime1">
              <a:rPr lang="en-GB" smtClean="0"/>
              <a:t>29/08/2025</a:t>
            </a:fld>
            <a:endParaRPr lang="en-GB"/>
          </a:p>
        </p:txBody>
      </p:sp>
      <p:sp>
        <p:nvSpPr>
          <p:cNvPr id="3" name="Tijdelijke aanduiding voor voettekst 2">
            <a:extLst>
              <a:ext uri="{FF2B5EF4-FFF2-40B4-BE49-F238E27FC236}">
                <a16:creationId xmlns:a16="http://schemas.microsoft.com/office/drawing/2014/main" id="{7A482D11-6271-5357-B21E-0B1512D30F71}"/>
              </a:ext>
            </a:extLst>
          </p:cNvPr>
          <p:cNvSpPr>
            <a:spLocks noGrp="1"/>
          </p:cNvSpPr>
          <p:nvPr>
            <p:ph type="ftr" sz="quarter" idx="11"/>
          </p:nvPr>
        </p:nvSpPr>
        <p:spPr/>
        <p:txBody>
          <a:bodyPr/>
          <a:lstStyle/>
          <a:p>
            <a:r>
              <a:rPr lang="en-GB"/>
              <a:t>IWG RD-ASEP SG R138 &amp; R51 / Status Report GRBP-82</a:t>
            </a:r>
          </a:p>
        </p:txBody>
      </p:sp>
      <p:sp>
        <p:nvSpPr>
          <p:cNvPr id="4" name="Tijdelijke aanduiding voor dianummer 3">
            <a:extLst>
              <a:ext uri="{FF2B5EF4-FFF2-40B4-BE49-F238E27FC236}">
                <a16:creationId xmlns:a16="http://schemas.microsoft.com/office/drawing/2014/main" id="{26C40CBD-B6D7-964A-3463-9DFF5ADB4539}"/>
              </a:ext>
            </a:extLst>
          </p:cNvPr>
          <p:cNvSpPr>
            <a:spLocks noGrp="1"/>
          </p:cNvSpPr>
          <p:nvPr>
            <p:ph type="sldNum" sz="quarter" idx="12"/>
          </p:nvPr>
        </p:nvSpPr>
        <p:spPr/>
        <p:txBody>
          <a:bodyPr/>
          <a:lstStyle/>
          <a:p>
            <a:fld id="{B72E1402-C48D-4BE1-B5C4-3ED179C88C9E}" type="slidenum">
              <a:rPr lang="en-GB" smtClean="0"/>
              <a:t>‹#›</a:t>
            </a:fld>
            <a:endParaRPr lang="en-GB"/>
          </a:p>
        </p:txBody>
      </p:sp>
    </p:spTree>
    <p:extLst>
      <p:ext uri="{BB962C8B-B14F-4D97-AF65-F5344CB8AC3E}">
        <p14:creationId xmlns:p14="http://schemas.microsoft.com/office/powerpoint/2010/main" val="34366261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5F14EB-6C73-B2D8-74F2-18CDE3789151}"/>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endParaRPr lang="en-GB"/>
          </a:p>
        </p:txBody>
      </p:sp>
      <p:sp>
        <p:nvSpPr>
          <p:cNvPr id="3" name="Tijdelijke aanduiding voor inhoud 2">
            <a:extLst>
              <a:ext uri="{FF2B5EF4-FFF2-40B4-BE49-F238E27FC236}">
                <a16:creationId xmlns:a16="http://schemas.microsoft.com/office/drawing/2014/main" id="{AE38878F-6653-E24C-3A65-8981EB2F3FB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tekst 3">
            <a:extLst>
              <a:ext uri="{FF2B5EF4-FFF2-40B4-BE49-F238E27FC236}">
                <a16:creationId xmlns:a16="http://schemas.microsoft.com/office/drawing/2014/main" id="{8092081C-1AB8-6F81-30ED-16D18AE873C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95248BD5-8310-D9ED-68F0-4878558E27CB}"/>
              </a:ext>
            </a:extLst>
          </p:cNvPr>
          <p:cNvSpPr>
            <a:spLocks noGrp="1"/>
          </p:cNvSpPr>
          <p:nvPr>
            <p:ph type="dt" sz="half" idx="10"/>
          </p:nvPr>
        </p:nvSpPr>
        <p:spPr/>
        <p:txBody>
          <a:bodyPr/>
          <a:lstStyle/>
          <a:p>
            <a:fld id="{584D102F-06B5-4085-BEC4-36589EC7F2B4}" type="datetime1">
              <a:rPr lang="en-GB" smtClean="0"/>
              <a:t>29/08/2025</a:t>
            </a:fld>
            <a:endParaRPr lang="en-GB"/>
          </a:p>
        </p:txBody>
      </p:sp>
      <p:sp>
        <p:nvSpPr>
          <p:cNvPr id="6" name="Tijdelijke aanduiding voor voettekst 5">
            <a:extLst>
              <a:ext uri="{FF2B5EF4-FFF2-40B4-BE49-F238E27FC236}">
                <a16:creationId xmlns:a16="http://schemas.microsoft.com/office/drawing/2014/main" id="{148A582F-ED01-4F1E-4BB9-944A1B68E236}"/>
              </a:ext>
            </a:extLst>
          </p:cNvPr>
          <p:cNvSpPr>
            <a:spLocks noGrp="1"/>
          </p:cNvSpPr>
          <p:nvPr>
            <p:ph type="ftr" sz="quarter" idx="11"/>
          </p:nvPr>
        </p:nvSpPr>
        <p:spPr/>
        <p:txBody>
          <a:bodyPr/>
          <a:lstStyle/>
          <a:p>
            <a:r>
              <a:rPr lang="en-GB"/>
              <a:t>IWG RD-ASEP SG R138 &amp; R51 / Status Report GRBP-82</a:t>
            </a:r>
          </a:p>
        </p:txBody>
      </p:sp>
      <p:sp>
        <p:nvSpPr>
          <p:cNvPr id="7" name="Tijdelijke aanduiding voor dianummer 6">
            <a:extLst>
              <a:ext uri="{FF2B5EF4-FFF2-40B4-BE49-F238E27FC236}">
                <a16:creationId xmlns:a16="http://schemas.microsoft.com/office/drawing/2014/main" id="{27806D6A-2379-F87A-B09A-616A0CA771F9}"/>
              </a:ext>
            </a:extLst>
          </p:cNvPr>
          <p:cNvSpPr>
            <a:spLocks noGrp="1"/>
          </p:cNvSpPr>
          <p:nvPr>
            <p:ph type="sldNum" sz="quarter" idx="12"/>
          </p:nvPr>
        </p:nvSpPr>
        <p:spPr/>
        <p:txBody>
          <a:bodyPr/>
          <a:lstStyle/>
          <a:p>
            <a:fld id="{B72E1402-C48D-4BE1-B5C4-3ED179C88C9E}" type="slidenum">
              <a:rPr lang="en-GB" smtClean="0"/>
              <a:t>‹#›</a:t>
            </a:fld>
            <a:endParaRPr lang="en-GB"/>
          </a:p>
        </p:txBody>
      </p:sp>
    </p:spTree>
    <p:extLst>
      <p:ext uri="{BB962C8B-B14F-4D97-AF65-F5344CB8AC3E}">
        <p14:creationId xmlns:p14="http://schemas.microsoft.com/office/powerpoint/2010/main" val="5502377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8A21BC-586A-9ABF-99FA-ACE953D049D6}"/>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endParaRPr lang="en-GB"/>
          </a:p>
        </p:txBody>
      </p:sp>
      <p:sp>
        <p:nvSpPr>
          <p:cNvPr id="3" name="Tijdelijke aanduiding voor afbeelding 2">
            <a:extLst>
              <a:ext uri="{FF2B5EF4-FFF2-40B4-BE49-F238E27FC236}">
                <a16:creationId xmlns:a16="http://schemas.microsoft.com/office/drawing/2014/main" id="{AA4E6D0B-FE99-C744-DC33-C1E6152387F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ijdelijke aanduiding voor tekst 3">
            <a:extLst>
              <a:ext uri="{FF2B5EF4-FFF2-40B4-BE49-F238E27FC236}">
                <a16:creationId xmlns:a16="http://schemas.microsoft.com/office/drawing/2014/main" id="{38618129-4328-6354-6A5D-A038434F08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999224E7-6339-AF9F-56F0-113C1E934C60}"/>
              </a:ext>
            </a:extLst>
          </p:cNvPr>
          <p:cNvSpPr>
            <a:spLocks noGrp="1"/>
          </p:cNvSpPr>
          <p:nvPr>
            <p:ph type="dt" sz="half" idx="10"/>
          </p:nvPr>
        </p:nvSpPr>
        <p:spPr/>
        <p:txBody>
          <a:bodyPr/>
          <a:lstStyle/>
          <a:p>
            <a:fld id="{ABF4BA3F-9467-492B-9527-BFE0E0AD20B5}" type="datetime1">
              <a:rPr lang="en-GB" smtClean="0"/>
              <a:t>29/08/2025</a:t>
            </a:fld>
            <a:endParaRPr lang="en-GB"/>
          </a:p>
        </p:txBody>
      </p:sp>
      <p:sp>
        <p:nvSpPr>
          <p:cNvPr id="6" name="Tijdelijke aanduiding voor voettekst 5">
            <a:extLst>
              <a:ext uri="{FF2B5EF4-FFF2-40B4-BE49-F238E27FC236}">
                <a16:creationId xmlns:a16="http://schemas.microsoft.com/office/drawing/2014/main" id="{6BDBCCF5-912F-4E28-05C2-A74E44F4B358}"/>
              </a:ext>
            </a:extLst>
          </p:cNvPr>
          <p:cNvSpPr>
            <a:spLocks noGrp="1"/>
          </p:cNvSpPr>
          <p:nvPr>
            <p:ph type="ftr" sz="quarter" idx="11"/>
          </p:nvPr>
        </p:nvSpPr>
        <p:spPr/>
        <p:txBody>
          <a:bodyPr/>
          <a:lstStyle/>
          <a:p>
            <a:r>
              <a:rPr lang="en-GB"/>
              <a:t>IWG RD-ASEP SG R138 &amp; R51 / Status Report GRBP-82</a:t>
            </a:r>
          </a:p>
        </p:txBody>
      </p:sp>
      <p:sp>
        <p:nvSpPr>
          <p:cNvPr id="7" name="Tijdelijke aanduiding voor dianummer 6">
            <a:extLst>
              <a:ext uri="{FF2B5EF4-FFF2-40B4-BE49-F238E27FC236}">
                <a16:creationId xmlns:a16="http://schemas.microsoft.com/office/drawing/2014/main" id="{6226D3BE-F139-058B-60A1-C6213B934DCC}"/>
              </a:ext>
            </a:extLst>
          </p:cNvPr>
          <p:cNvSpPr>
            <a:spLocks noGrp="1"/>
          </p:cNvSpPr>
          <p:nvPr>
            <p:ph type="sldNum" sz="quarter" idx="12"/>
          </p:nvPr>
        </p:nvSpPr>
        <p:spPr/>
        <p:txBody>
          <a:bodyPr/>
          <a:lstStyle/>
          <a:p>
            <a:fld id="{B72E1402-C48D-4BE1-B5C4-3ED179C88C9E}" type="slidenum">
              <a:rPr lang="en-GB" smtClean="0"/>
              <a:t>‹#›</a:t>
            </a:fld>
            <a:endParaRPr lang="en-GB"/>
          </a:p>
        </p:txBody>
      </p:sp>
    </p:spTree>
    <p:extLst>
      <p:ext uri="{BB962C8B-B14F-4D97-AF65-F5344CB8AC3E}">
        <p14:creationId xmlns:p14="http://schemas.microsoft.com/office/powerpoint/2010/main" val="34040667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100E2EC2-7770-0BD3-CAA0-BE4365C65CF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endParaRPr lang="en-GB"/>
          </a:p>
        </p:txBody>
      </p:sp>
      <p:sp>
        <p:nvSpPr>
          <p:cNvPr id="3" name="Tijdelijke aanduiding voor tekst 2">
            <a:extLst>
              <a:ext uri="{FF2B5EF4-FFF2-40B4-BE49-F238E27FC236}">
                <a16:creationId xmlns:a16="http://schemas.microsoft.com/office/drawing/2014/main" id="{C7CB9C65-E5D3-86BC-9F03-EFA53B3DDDA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a:extLst>
              <a:ext uri="{FF2B5EF4-FFF2-40B4-BE49-F238E27FC236}">
                <a16:creationId xmlns:a16="http://schemas.microsoft.com/office/drawing/2014/main" id="{5FC46800-C482-26DF-5CA9-0573433E1F7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38BB6D2-281D-44F9-AD9C-49D9C4C02C92}" type="datetime1">
              <a:rPr lang="en-GB" smtClean="0"/>
              <a:t>29/08/2025</a:t>
            </a:fld>
            <a:endParaRPr lang="en-GB"/>
          </a:p>
        </p:txBody>
      </p:sp>
      <p:sp>
        <p:nvSpPr>
          <p:cNvPr id="5" name="Tijdelijke aanduiding voor voettekst 4">
            <a:extLst>
              <a:ext uri="{FF2B5EF4-FFF2-40B4-BE49-F238E27FC236}">
                <a16:creationId xmlns:a16="http://schemas.microsoft.com/office/drawing/2014/main" id="{54112F35-DD87-7240-8C41-A79FB0413D8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GB"/>
              <a:t>IWG RD-ASEP SG R138 &amp; R51 / Status Report GRBP-82</a:t>
            </a:r>
          </a:p>
        </p:txBody>
      </p:sp>
      <p:sp>
        <p:nvSpPr>
          <p:cNvPr id="6" name="Tijdelijke aanduiding voor dianummer 5">
            <a:extLst>
              <a:ext uri="{FF2B5EF4-FFF2-40B4-BE49-F238E27FC236}">
                <a16:creationId xmlns:a16="http://schemas.microsoft.com/office/drawing/2014/main" id="{F6E5C7E9-011D-62FE-EC4E-23C59A8F8A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72E1402-C48D-4BE1-B5C4-3ED179C88C9E}" type="slidenum">
              <a:rPr lang="en-GB" smtClean="0"/>
              <a:t>‹#›</a:t>
            </a:fld>
            <a:endParaRPr lang="en-GB"/>
          </a:p>
        </p:txBody>
      </p:sp>
    </p:spTree>
    <p:extLst>
      <p:ext uri="{BB962C8B-B14F-4D97-AF65-F5344CB8AC3E}">
        <p14:creationId xmlns:p14="http://schemas.microsoft.com/office/powerpoint/2010/main" val="15753703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tags" Target="../tags/tag1.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7.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emf"/><Relationship Id="rId11" Type="http://schemas.openxmlformats.org/officeDocument/2006/relationships/image" Target="../media/image5.svg"/><Relationship Id="rId5" Type="http://schemas.openxmlformats.org/officeDocument/2006/relationships/oleObject" Target="../embeddings/oleObject2.bin"/><Relationship Id="rId10" Type="http://schemas.openxmlformats.org/officeDocument/2006/relationships/image" Target="../media/image4.png"/><Relationship Id="rId4" Type="http://schemas.openxmlformats.org/officeDocument/2006/relationships/notesSlide" Target="../notesSlides/notesSlide1.xml"/><Relationship Id="rId9" Type="http://schemas.openxmlformats.org/officeDocument/2006/relationships/image" Target="../media/image3.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hyperlink" Target="https://vdaservices.sharepoint.com/:x:/r/sites/Shares/_layouts/15/Doc.aspx?sourcedoc=%7B7C584144-85B8-4FA6-A6F9-3F73FA94246A%7D&amp;file=SG_MD_05_0823_Measurement_Data_anonym.xlsx&amp;action=default&amp;mobileredirect=true"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CBB3CF1-97B7-4E04-B163-2836B63CF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7" name="Objekt 6" hidden="1">
                        <a:extLst>
                          <a:ext uri="{FF2B5EF4-FFF2-40B4-BE49-F238E27FC236}">
                            <a16:creationId xmlns:a16="http://schemas.microsoft.com/office/drawing/2014/main" id="{0CBB3CF1-97B7-4E04-B163-2836B63CF8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126C82-208A-4942-A7F6-8E5D375728F5}"/>
              </a:ext>
            </a:extLst>
          </p:cNvPr>
          <p:cNvSpPr>
            <a:spLocks noGrp="1"/>
          </p:cNvSpPr>
          <p:nvPr>
            <p:ph type="ctrTitle"/>
          </p:nvPr>
        </p:nvSpPr>
        <p:spPr/>
        <p:txBody>
          <a:bodyPr vert="horz">
            <a:normAutofit/>
          </a:bodyPr>
          <a:lstStyle/>
          <a:p>
            <a:r>
              <a:rPr lang="en-GB" sz="4000" b="1" noProof="0" dirty="0"/>
              <a:t>Report to 82</a:t>
            </a:r>
            <a:r>
              <a:rPr lang="en-GB" sz="4000" b="1" baseline="30000" noProof="0" dirty="0"/>
              <a:t>nd</a:t>
            </a:r>
            <a:r>
              <a:rPr lang="en-GB" sz="4000" b="1" noProof="0" dirty="0"/>
              <a:t> Session of GRBP</a:t>
            </a:r>
            <a:br>
              <a:rPr lang="en-GB" sz="4000" b="1" noProof="0" dirty="0"/>
            </a:br>
            <a:r>
              <a:rPr lang="en-GB" sz="4000" b="1" noProof="0" dirty="0"/>
              <a:t>(September 2025)</a:t>
            </a:r>
          </a:p>
        </p:txBody>
      </p:sp>
      <p:sp>
        <p:nvSpPr>
          <p:cNvPr id="3" name="Subtitle 2">
            <a:extLst>
              <a:ext uri="{FF2B5EF4-FFF2-40B4-BE49-F238E27FC236}">
                <a16:creationId xmlns:a16="http://schemas.microsoft.com/office/drawing/2014/main" id="{CAD92662-9D5D-46D5-9C8A-7E4B76847114}"/>
              </a:ext>
            </a:extLst>
          </p:cNvPr>
          <p:cNvSpPr>
            <a:spLocks noGrp="1"/>
          </p:cNvSpPr>
          <p:nvPr>
            <p:ph type="subTitle" idx="1"/>
          </p:nvPr>
        </p:nvSpPr>
        <p:spPr>
          <a:xfrm>
            <a:off x="1305097" y="3602038"/>
            <a:ext cx="9648673" cy="1655762"/>
          </a:xfrm>
        </p:spPr>
        <p:txBody>
          <a:bodyPr vert="horz" lIns="91440" tIns="45720" rIns="91440" bIns="45720" rtlCol="0" anchor="t">
            <a:normAutofit/>
          </a:bodyPr>
          <a:lstStyle/>
          <a:p>
            <a:r>
              <a:rPr lang="en-GB" sz="2800" noProof="0" dirty="0"/>
              <a:t>IWG RD-ASEP Subgroup on UN-R 138 and UN-R 51</a:t>
            </a:r>
          </a:p>
          <a:p>
            <a:endParaRPr lang="en-GB" sz="2800" noProof="0" dirty="0"/>
          </a:p>
        </p:txBody>
      </p:sp>
      <p:sp>
        <p:nvSpPr>
          <p:cNvPr id="4" name="TextBox 3">
            <a:extLst>
              <a:ext uri="{FF2B5EF4-FFF2-40B4-BE49-F238E27FC236}">
                <a16:creationId xmlns:a16="http://schemas.microsoft.com/office/drawing/2014/main" id="{5BA46932-961C-4162-8C77-9056444970D8}"/>
              </a:ext>
            </a:extLst>
          </p:cNvPr>
          <p:cNvSpPr txBox="1"/>
          <p:nvPr/>
        </p:nvSpPr>
        <p:spPr>
          <a:xfrm>
            <a:off x="833120" y="375920"/>
            <a:ext cx="5334089" cy="646331"/>
          </a:xfrm>
          <a:prstGeom prst="rect">
            <a:avLst/>
          </a:prstGeom>
          <a:noFill/>
        </p:spPr>
        <p:txBody>
          <a:bodyPr wrap="none" lIns="91440" tIns="45720" rIns="91440" bIns="45720" rtlCol="0" anchor="t">
            <a:spAutoFit/>
          </a:bodyPr>
          <a:lstStyle/>
          <a:p>
            <a:r>
              <a:rPr lang="en-GB" b="1" noProof="0" dirty="0"/>
              <a:t>Submitted by the Chair of </a:t>
            </a:r>
            <a:endParaRPr lang="en-GB" noProof="0" dirty="0"/>
          </a:p>
          <a:p>
            <a:r>
              <a:rPr lang="en-GB" b="1" noProof="0" dirty="0"/>
              <a:t>IWG RD-ASEP Subgroup on UN-R 138 and UN-R 51</a:t>
            </a:r>
            <a:endParaRPr lang="en-GB" noProof="0" dirty="0"/>
          </a:p>
        </p:txBody>
      </p:sp>
      <p:sp>
        <p:nvSpPr>
          <p:cNvPr id="5" name="TextBox 4">
            <a:extLst>
              <a:ext uri="{FF2B5EF4-FFF2-40B4-BE49-F238E27FC236}">
                <a16:creationId xmlns:a16="http://schemas.microsoft.com/office/drawing/2014/main" id="{F6FC4AF4-E468-4466-AB2F-DF925A5E6D87}"/>
              </a:ext>
            </a:extLst>
          </p:cNvPr>
          <p:cNvSpPr txBox="1"/>
          <p:nvPr/>
        </p:nvSpPr>
        <p:spPr>
          <a:xfrm>
            <a:off x="7699739" y="283566"/>
            <a:ext cx="3679918" cy="923330"/>
          </a:xfrm>
          <a:prstGeom prst="rect">
            <a:avLst/>
          </a:prstGeom>
          <a:noFill/>
        </p:spPr>
        <p:txBody>
          <a:bodyPr wrap="none" lIns="91440" tIns="45720" rIns="91440" bIns="45720" rtlCol="0" anchor="t">
            <a:spAutoFit/>
          </a:bodyPr>
          <a:lstStyle/>
          <a:p>
            <a:r>
              <a:rPr lang="en-GB" noProof="0" dirty="0"/>
              <a:t>Informal Document </a:t>
            </a:r>
            <a:r>
              <a:rPr lang="en-GB" b="1" noProof="0" dirty="0"/>
              <a:t>GRBP-82-xy</a:t>
            </a:r>
          </a:p>
          <a:p>
            <a:r>
              <a:rPr lang="en-GB" noProof="0" dirty="0"/>
              <a:t>82</a:t>
            </a:r>
            <a:r>
              <a:rPr lang="en-GB" baseline="30000" noProof="0" dirty="0"/>
              <a:t>nd</a:t>
            </a:r>
            <a:r>
              <a:rPr lang="en-GB" noProof="0" dirty="0"/>
              <a:t> GRBP, 03-05 September 2025</a:t>
            </a:r>
          </a:p>
          <a:p>
            <a:endParaRPr lang="en-GB" noProof="0" dirty="0"/>
          </a:p>
        </p:txBody>
      </p:sp>
    </p:spTree>
    <p:extLst>
      <p:ext uri="{BB962C8B-B14F-4D97-AF65-F5344CB8AC3E}">
        <p14:creationId xmlns:p14="http://schemas.microsoft.com/office/powerpoint/2010/main" val="25744243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0477C8-9FD0-768E-019A-CDF12115B6E0}"/>
              </a:ext>
            </a:extLst>
          </p:cNvPr>
          <p:cNvSpPr>
            <a:spLocks noGrp="1"/>
          </p:cNvSpPr>
          <p:nvPr>
            <p:ph type="title"/>
          </p:nvPr>
        </p:nvSpPr>
        <p:spPr>
          <a:xfrm>
            <a:off x="838200" y="2766218"/>
            <a:ext cx="10515600" cy="1325563"/>
          </a:xfrm>
        </p:spPr>
        <p:txBody>
          <a:bodyPr/>
          <a:lstStyle/>
          <a:p>
            <a:pPr algn="ctr"/>
            <a:r>
              <a:rPr lang="en-GB" noProof="0" dirty="0"/>
              <a:t>Thank you for your attention.</a:t>
            </a:r>
          </a:p>
        </p:txBody>
      </p:sp>
      <p:sp>
        <p:nvSpPr>
          <p:cNvPr id="4" name="Tijdelijke aanduiding voor voettekst 3">
            <a:extLst>
              <a:ext uri="{FF2B5EF4-FFF2-40B4-BE49-F238E27FC236}">
                <a16:creationId xmlns:a16="http://schemas.microsoft.com/office/drawing/2014/main" id="{FF4A0ED4-53CD-5A1F-D0CC-A80DA5F611E6}"/>
              </a:ext>
            </a:extLst>
          </p:cNvPr>
          <p:cNvSpPr>
            <a:spLocks noGrp="1"/>
          </p:cNvSpPr>
          <p:nvPr>
            <p:ph type="ftr" sz="quarter" idx="11"/>
          </p:nvPr>
        </p:nvSpPr>
        <p:spPr/>
        <p:txBody>
          <a:bodyPr/>
          <a:lstStyle/>
          <a:p>
            <a:r>
              <a:rPr lang="en-GB" noProof="0" dirty="0"/>
              <a:t>IWG RD-ASEP SG R138 &amp; R51 / Status Report GRBP-82</a:t>
            </a:r>
          </a:p>
        </p:txBody>
      </p:sp>
      <p:sp>
        <p:nvSpPr>
          <p:cNvPr id="5" name="Tijdelijke aanduiding voor dianummer 4">
            <a:extLst>
              <a:ext uri="{FF2B5EF4-FFF2-40B4-BE49-F238E27FC236}">
                <a16:creationId xmlns:a16="http://schemas.microsoft.com/office/drawing/2014/main" id="{367728A4-2FD4-9071-9C37-3A028A8F5B0B}"/>
              </a:ext>
            </a:extLst>
          </p:cNvPr>
          <p:cNvSpPr>
            <a:spLocks noGrp="1"/>
          </p:cNvSpPr>
          <p:nvPr>
            <p:ph type="sldNum" sz="quarter" idx="12"/>
          </p:nvPr>
        </p:nvSpPr>
        <p:spPr/>
        <p:txBody>
          <a:bodyPr/>
          <a:lstStyle/>
          <a:p>
            <a:fld id="{B72E1402-C48D-4BE1-B5C4-3ED179C88C9E}" type="slidenum">
              <a:rPr lang="en-GB" noProof="0" smtClean="0"/>
              <a:t>10</a:t>
            </a:fld>
            <a:endParaRPr lang="en-GB" noProof="0" dirty="0"/>
          </a:p>
        </p:txBody>
      </p:sp>
    </p:spTree>
    <p:extLst>
      <p:ext uri="{BB962C8B-B14F-4D97-AF65-F5344CB8AC3E}">
        <p14:creationId xmlns:p14="http://schemas.microsoft.com/office/powerpoint/2010/main" val="7079584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977F4A7-3B88-4670-ADCE-27A23B36D3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00" imgH="396" progId="TCLayout.ActiveDocument.1">
                  <p:embed/>
                </p:oleObj>
              </mc:Choice>
              <mc:Fallback>
                <p:oleObj name="think-cell Folie" r:id="rId5" imgW="400" imgH="396" progId="TCLayout.ActiveDocument.1">
                  <p:embed/>
                  <p:pic>
                    <p:nvPicPr>
                      <p:cNvPr id="6" name="Objekt 5" hidden="1">
                        <a:extLst>
                          <a:ext uri="{FF2B5EF4-FFF2-40B4-BE49-F238E27FC236}">
                            <a16:creationId xmlns:a16="http://schemas.microsoft.com/office/drawing/2014/main" id="{5977F4A7-3B88-4670-ADCE-27A23B36D3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Objekt 2" hidden="1">
            <a:extLst>
              <a:ext uri="{FF2B5EF4-FFF2-40B4-BE49-F238E27FC236}">
                <a16:creationId xmlns:a16="http://schemas.microsoft.com/office/drawing/2014/main" id="{E075AB84-F47B-4E17-9AE6-340E84F8C13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00" imgH="396" progId="TCLayout.ActiveDocument.1">
                  <p:embed/>
                </p:oleObj>
              </mc:Choice>
              <mc:Fallback>
                <p:oleObj name="think-cell Folie" r:id="rId7" imgW="400" imgH="396" progId="TCLayout.ActiveDocument.1">
                  <p:embed/>
                  <p:pic>
                    <p:nvPicPr>
                      <p:cNvPr id="3" name="Objekt 2" hidden="1">
                        <a:extLst>
                          <a:ext uri="{FF2B5EF4-FFF2-40B4-BE49-F238E27FC236}">
                            <a16:creationId xmlns:a16="http://schemas.microsoft.com/office/drawing/2014/main" id="{E075AB84-F47B-4E17-9AE6-340E84F8C1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8" name="Graphic 4">
            <a:extLst>
              <a:ext uri="{FF2B5EF4-FFF2-40B4-BE49-F238E27FC236}">
                <a16:creationId xmlns:a16="http://schemas.microsoft.com/office/drawing/2014/main" id="{81A678D5-EEBC-4910-810D-5929FE09284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437997" y="1462860"/>
            <a:ext cx="739170" cy="739170"/>
          </a:xfrm>
          <a:prstGeom prst="rect">
            <a:avLst/>
          </a:prstGeom>
        </p:spPr>
      </p:pic>
      <p:pic>
        <p:nvPicPr>
          <p:cNvPr id="22" name="Graphic 4">
            <a:extLst>
              <a:ext uri="{FF2B5EF4-FFF2-40B4-BE49-F238E27FC236}">
                <a16:creationId xmlns:a16="http://schemas.microsoft.com/office/drawing/2014/main" id="{CC1073DC-7990-4B94-9279-36641FBF049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14834" y="1411960"/>
            <a:ext cx="720000" cy="720000"/>
          </a:xfrm>
          <a:prstGeom prst="rect">
            <a:avLst/>
          </a:prstGeom>
        </p:spPr>
      </p:pic>
      <p:sp>
        <p:nvSpPr>
          <p:cNvPr id="2" name="Titel 1">
            <a:extLst>
              <a:ext uri="{FF2B5EF4-FFF2-40B4-BE49-F238E27FC236}">
                <a16:creationId xmlns:a16="http://schemas.microsoft.com/office/drawing/2014/main" id="{CD59B033-64B8-4D6D-85A6-CF858094F61B}"/>
              </a:ext>
            </a:extLst>
          </p:cNvPr>
          <p:cNvSpPr>
            <a:spLocks noGrp="1"/>
          </p:cNvSpPr>
          <p:nvPr>
            <p:ph type="title" idx="4294967295"/>
          </p:nvPr>
        </p:nvSpPr>
        <p:spPr>
          <a:xfrm>
            <a:off x="1159565" y="391629"/>
            <a:ext cx="10515600" cy="1325563"/>
          </a:xfrm>
        </p:spPr>
        <p:txBody>
          <a:bodyPr vert="horz"/>
          <a:lstStyle/>
          <a:p>
            <a:r>
              <a:rPr lang="en-GB" sz="3600" b="1" noProof="0" dirty="0">
                <a:latin typeface="Aptos Display"/>
                <a:ea typeface="+mj-lt"/>
                <a:cs typeface="+mj-lt"/>
              </a:rPr>
              <a:t>IWG RD-ASEP Subgroup on UN-R 138 and UN-R 51</a:t>
            </a:r>
          </a:p>
        </p:txBody>
      </p:sp>
      <p:sp>
        <p:nvSpPr>
          <p:cNvPr id="4" name="Textplatzhalter 5">
            <a:extLst>
              <a:ext uri="{FF2B5EF4-FFF2-40B4-BE49-F238E27FC236}">
                <a16:creationId xmlns:a16="http://schemas.microsoft.com/office/drawing/2014/main" id="{C79531C2-2CFC-4A0B-8928-D8E319474525}"/>
              </a:ext>
            </a:extLst>
          </p:cNvPr>
          <p:cNvSpPr txBox="1">
            <a:spLocks/>
          </p:cNvSpPr>
          <p:nvPr/>
        </p:nvSpPr>
        <p:spPr>
          <a:xfrm>
            <a:off x="1776325" y="2384359"/>
            <a:ext cx="4068242" cy="648000"/>
          </a:xfrm>
          <a:prstGeom prst="rect">
            <a:avLst/>
          </a:prstGeom>
        </p:spPr>
        <p:txBody>
          <a:bodyPr vert="horz" wrap="square" lIns="0" tIns="0" rIns="0" bIns="0" rtlCol="0" anchor="t">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GB" sz="4000" b="1" noProof="0" dirty="0"/>
              <a:t>14</a:t>
            </a:r>
          </a:p>
        </p:txBody>
      </p:sp>
      <p:sp>
        <p:nvSpPr>
          <p:cNvPr id="17" name="Textplatzhalter 5">
            <a:extLst>
              <a:ext uri="{FF2B5EF4-FFF2-40B4-BE49-F238E27FC236}">
                <a16:creationId xmlns:a16="http://schemas.microsoft.com/office/drawing/2014/main" id="{DE1272F1-BAD9-4626-BB3A-C7D24E76C749}"/>
              </a:ext>
            </a:extLst>
          </p:cNvPr>
          <p:cNvSpPr txBox="1">
            <a:spLocks/>
          </p:cNvSpPr>
          <p:nvPr/>
        </p:nvSpPr>
        <p:spPr>
          <a:xfrm>
            <a:off x="6354611" y="2387150"/>
            <a:ext cx="4068242" cy="648000"/>
          </a:xfrm>
          <a:prstGeom prst="rect">
            <a:avLst/>
          </a:prstGeom>
        </p:spPr>
        <p:txBody>
          <a:bodyPr vert="horz" wrap="square" lIns="0" tIns="0" rIns="0" bIns="0" rtlCol="0" anchor="t">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GB" sz="4000" b="1" noProof="0" dirty="0"/>
              <a:t>59</a:t>
            </a:r>
          </a:p>
        </p:txBody>
      </p:sp>
      <p:sp>
        <p:nvSpPr>
          <p:cNvPr id="26" name="Textplatzhalter 5">
            <a:extLst>
              <a:ext uri="{FF2B5EF4-FFF2-40B4-BE49-F238E27FC236}">
                <a16:creationId xmlns:a16="http://schemas.microsoft.com/office/drawing/2014/main" id="{0594F41B-9D0D-4CBE-9BCB-50762C56A99B}"/>
              </a:ext>
            </a:extLst>
          </p:cNvPr>
          <p:cNvSpPr txBox="1">
            <a:spLocks/>
          </p:cNvSpPr>
          <p:nvPr/>
        </p:nvSpPr>
        <p:spPr>
          <a:xfrm>
            <a:off x="1788416" y="2954215"/>
            <a:ext cx="4062196" cy="959681"/>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endParaRPr lang="en-GB" sz="2000" b="1" noProof="0" dirty="0"/>
          </a:p>
          <a:p>
            <a:r>
              <a:rPr lang="en-GB" sz="2000" b="1" noProof="0" dirty="0"/>
              <a:t>Number of Meetings </a:t>
            </a:r>
            <a:br>
              <a:rPr lang="en-GB" sz="2000" b="1" noProof="0" dirty="0"/>
            </a:br>
            <a:endParaRPr lang="en-GB" sz="2000" b="1" noProof="0" dirty="0"/>
          </a:p>
        </p:txBody>
      </p:sp>
      <p:cxnSp>
        <p:nvCxnSpPr>
          <p:cNvPr id="27" name="Gerader Verbinder 26">
            <a:extLst>
              <a:ext uri="{FF2B5EF4-FFF2-40B4-BE49-F238E27FC236}">
                <a16:creationId xmlns:a16="http://schemas.microsoft.com/office/drawing/2014/main" id="{1403BA6E-E1A1-4C4C-8E93-B6744ADA80D9}"/>
              </a:ext>
            </a:extLst>
          </p:cNvPr>
          <p:cNvCxnSpPr/>
          <p:nvPr/>
        </p:nvCxnSpPr>
        <p:spPr>
          <a:xfrm>
            <a:off x="1788416" y="3612177"/>
            <a:ext cx="4062196" cy="0"/>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8" name="Textplatzhalter 5">
            <a:extLst>
              <a:ext uri="{FF2B5EF4-FFF2-40B4-BE49-F238E27FC236}">
                <a16:creationId xmlns:a16="http://schemas.microsoft.com/office/drawing/2014/main" id="{A8B83019-EFCE-41EA-B332-F508EC147135}"/>
              </a:ext>
            </a:extLst>
          </p:cNvPr>
          <p:cNvSpPr txBox="1">
            <a:spLocks/>
          </p:cNvSpPr>
          <p:nvPr/>
        </p:nvSpPr>
        <p:spPr bwMode="gray">
          <a:xfrm>
            <a:off x="649994" y="3703570"/>
            <a:ext cx="5530370" cy="259109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numCol="2" spcCol="144000" rtlCol="0" anchor="t">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30</a:t>
            </a:r>
            <a:r>
              <a:rPr lang="en-GB" sz="1300" baseline="30000" noProof="0" dirty="0">
                <a:latin typeface="Arial"/>
                <a:ea typeface="Calibri"/>
                <a:cs typeface="Arial"/>
              </a:rPr>
              <a:t>th – </a:t>
            </a:r>
            <a:r>
              <a:rPr lang="en-GB" sz="1300" noProof="0" dirty="0">
                <a:latin typeface="Arial"/>
                <a:ea typeface="Calibri"/>
                <a:cs typeface="Arial"/>
              </a:rPr>
              <a:t>31</a:t>
            </a:r>
            <a:r>
              <a:rPr lang="en-GB" sz="1300" baseline="30000" noProof="0" dirty="0">
                <a:latin typeface="Arial"/>
                <a:ea typeface="Calibri"/>
                <a:cs typeface="Arial"/>
              </a:rPr>
              <a:t>st</a:t>
            </a:r>
            <a:r>
              <a:rPr lang="en-GB" sz="1300" noProof="0" dirty="0">
                <a:effectLst/>
                <a:latin typeface="Arial"/>
                <a:ea typeface="Calibri"/>
                <a:cs typeface="Arial"/>
              </a:rPr>
              <a:t> of </a:t>
            </a:r>
            <a:r>
              <a:rPr lang="en-GB" sz="1300" noProof="0" dirty="0">
                <a:latin typeface="Arial"/>
                <a:ea typeface="Calibri"/>
                <a:cs typeface="Arial"/>
              </a:rPr>
              <a:t>October 2024</a:t>
            </a:r>
            <a:r>
              <a:rPr lang="en-GB" sz="1300" noProof="0" dirty="0">
                <a:effectLst/>
                <a:latin typeface="Arial"/>
                <a:ea typeface="Calibri"/>
                <a:cs typeface="Arial"/>
              </a:rPr>
              <a:t> (</a:t>
            </a:r>
            <a:r>
              <a:rPr lang="en-GB" sz="1300" noProof="0" dirty="0">
                <a:latin typeface="Arial"/>
                <a:ea typeface="Calibri"/>
                <a:cs typeface="Arial"/>
              </a:rPr>
              <a:t>hybrid in Berlin</a:t>
            </a:r>
            <a:r>
              <a:rPr lang="en-GB" sz="1300" noProof="0" dirty="0">
                <a:effectLst/>
                <a:latin typeface="Arial"/>
                <a:ea typeface="Calibri"/>
                <a:cs typeface="Arial"/>
              </a:rPr>
              <a:t>)</a:t>
            </a:r>
            <a:endParaRPr lang="en-GB" sz="1300" noProof="0" dirty="0"/>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15</a:t>
            </a:r>
            <a:r>
              <a:rPr lang="en-GB" sz="1300" baseline="30000" noProof="0" dirty="0">
                <a:latin typeface="Arial"/>
                <a:ea typeface="Calibri"/>
                <a:cs typeface="Arial"/>
              </a:rPr>
              <a:t>th</a:t>
            </a:r>
            <a:r>
              <a:rPr lang="en-GB" sz="1300" noProof="0" dirty="0">
                <a:effectLst/>
                <a:latin typeface="Arial"/>
                <a:ea typeface="Calibri"/>
                <a:cs typeface="Arial"/>
              </a:rPr>
              <a:t> of </a:t>
            </a:r>
            <a:r>
              <a:rPr lang="en-GB" sz="1300" noProof="0" dirty="0">
                <a:latin typeface="Arial"/>
                <a:ea typeface="Calibri"/>
                <a:cs typeface="Arial"/>
              </a:rPr>
              <a:t>November 2024</a:t>
            </a:r>
            <a:r>
              <a:rPr lang="en-GB" sz="1300" noProof="0" dirty="0">
                <a:effectLst/>
                <a:latin typeface="Arial"/>
                <a:ea typeface="Calibri"/>
                <a:cs typeface="Arial"/>
              </a:rPr>
              <a:t> (virtual)</a:t>
            </a: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10</a:t>
            </a:r>
            <a:r>
              <a:rPr lang="en-GB" sz="1300" baseline="30000" noProof="0" dirty="0">
                <a:latin typeface="Arial"/>
                <a:ea typeface="Calibri"/>
                <a:cs typeface="Arial"/>
              </a:rPr>
              <a:t>th</a:t>
            </a:r>
            <a:r>
              <a:rPr lang="en-GB" sz="1300" noProof="0" dirty="0">
                <a:effectLst/>
                <a:latin typeface="Arial"/>
                <a:ea typeface="Calibri"/>
                <a:cs typeface="Arial"/>
              </a:rPr>
              <a:t> </a:t>
            </a:r>
            <a:r>
              <a:rPr lang="en-GB" sz="1300" noProof="0" dirty="0">
                <a:latin typeface="Arial"/>
                <a:ea typeface="Calibri"/>
                <a:cs typeface="Arial"/>
              </a:rPr>
              <a:t>– 12</a:t>
            </a:r>
            <a:r>
              <a:rPr lang="en-GB" sz="1300" baseline="30000" noProof="0" dirty="0">
                <a:latin typeface="Arial"/>
                <a:ea typeface="Calibri"/>
                <a:cs typeface="Arial"/>
              </a:rPr>
              <a:t>th</a:t>
            </a:r>
            <a:r>
              <a:rPr lang="en-GB" sz="1300" noProof="0" dirty="0">
                <a:latin typeface="Arial"/>
                <a:ea typeface="Calibri"/>
                <a:cs typeface="Arial"/>
              </a:rPr>
              <a:t> of</a:t>
            </a:r>
            <a:r>
              <a:rPr lang="en-GB" sz="1300" noProof="0" dirty="0">
                <a:effectLst/>
                <a:latin typeface="Arial"/>
                <a:ea typeface="Calibri"/>
                <a:cs typeface="Arial"/>
              </a:rPr>
              <a:t> </a:t>
            </a:r>
            <a:r>
              <a:rPr lang="en-GB" sz="1300" noProof="0" dirty="0">
                <a:latin typeface="Arial"/>
                <a:ea typeface="Calibri"/>
                <a:cs typeface="Arial"/>
              </a:rPr>
              <a:t>December 2024</a:t>
            </a:r>
            <a:r>
              <a:rPr lang="en-GB" sz="1300" noProof="0" dirty="0">
                <a:effectLst/>
                <a:latin typeface="Arial"/>
                <a:ea typeface="Calibri"/>
                <a:cs typeface="Arial"/>
              </a:rPr>
              <a:t> (</a:t>
            </a:r>
            <a:r>
              <a:rPr lang="en-GB" sz="1300" noProof="0" dirty="0">
                <a:latin typeface="Arial"/>
                <a:ea typeface="Calibri"/>
                <a:cs typeface="Arial"/>
              </a:rPr>
              <a:t>hybrid in Tokyo</a:t>
            </a:r>
            <a:r>
              <a:rPr lang="en-GB" sz="1300" noProof="0" dirty="0">
                <a:effectLst/>
                <a:latin typeface="Arial"/>
                <a:ea typeface="Calibri"/>
                <a:cs typeface="Arial"/>
              </a:rPr>
              <a:t>)</a:t>
            </a: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17</a:t>
            </a:r>
            <a:r>
              <a:rPr lang="en-GB" sz="1300" baseline="30000" noProof="0" dirty="0">
                <a:latin typeface="Arial"/>
                <a:ea typeface="Calibri"/>
                <a:cs typeface="Arial"/>
              </a:rPr>
              <a:t>th</a:t>
            </a:r>
            <a:r>
              <a:rPr lang="en-GB" sz="1300" noProof="0" dirty="0">
                <a:effectLst/>
                <a:latin typeface="Arial"/>
                <a:ea typeface="Calibri"/>
                <a:cs typeface="Arial"/>
              </a:rPr>
              <a:t> of </a:t>
            </a:r>
            <a:r>
              <a:rPr lang="en-GB" sz="1300" noProof="0" dirty="0">
                <a:latin typeface="Arial"/>
                <a:ea typeface="Calibri"/>
                <a:cs typeface="Arial"/>
              </a:rPr>
              <a:t>January 2025</a:t>
            </a:r>
            <a:r>
              <a:rPr lang="en-GB" sz="1300" noProof="0" dirty="0">
                <a:effectLst/>
                <a:latin typeface="Arial"/>
                <a:ea typeface="Calibri"/>
                <a:cs typeface="Arial"/>
              </a:rPr>
              <a:t> (virtual)</a:t>
            </a: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30</a:t>
            </a:r>
            <a:r>
              <a:rPr lang="en-GB" sz="1300" baseline="30000" noProof="0" dirty="0">
                <a:latin typeface="Arial"/>
                <a:ea typeface="Calibri"/>
                <a:cs typeface="Arial"/>
              </a:rPr>
              <a:t>th</a:t>
            </a:r>
            <a:r>
              <a:rPr lang="en-GB" sz="1300" noProof="0" dirty="0">
                <a:effectLst/>
                <a:latin typeface="Arial"/>
                <a:ea typeface="Calibri"/>
                <a:cs typeface="Arial"/>
              </a:rPr>
              <a:t> of </a:t>
            </a:r>
            <a:r>
              <a:rPr lang="en-GB" sz="1300" noProof="0" dirty="0">
                <a:latin typeface="Arial"/>
                <a:ea typeface="Calibri"/>
                <a:cs typeface="Arial"/>
              </a:rPr>
              <a:t>January 2025</a:t>
            </a:r>
            <a:r>
              <a:rPr lang="en-GB" sz="1300" noProof="0" dirty="0">
                <a:effectLst/>
                <a:latin typeface="Arial"/>
                <a:ea typeface="Calibri"/>
                <a:cs typeface="Arial"/>
              </a:rPr>
              <a:t> (virtual)</a:t>
            </a: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13</a:t>
            </a:r>
            <a:r>
              <a:rPr lang="en-GB" sz="1300" baseline="30000" noProof="0" dirty="0">
                <a:latin typeface="Arial"/>
                <a:ea typeface="Calibri"/>
                <a:cs typeface="Arial"/>
              </a:rPr>
              <a:t>th</a:t>
            </a:r>
            <a:r>
              <a:rPr lang="en-GB" sz="1300" noProof="0" dirty="0">
                <a:latin typeface="Arial"/>
                <a:ea typeface="Calibri"/>
                <a:cs typeface="Arial"/>
              </a:rPr>
              <a:t> of March 2025 (virtual)</a:t>
            </a: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8-10</a:t>
            </a:r>
            <a:r>
              <a:rPr lang="en-GB" sz="1300" baseline="30000" noProof="0" dirty="0">
                <a:latin typeface="Arial"/>
                <a:ea typeface="Calibri"/>
                <a:cs typeface="Arial"/>
              </a:rPr>
              <a:t>th</a:t>
            </a:r>
            <a:r>
              <a:rPr lang="en-GB" sz="1300" noProof="0" dirty="0">
                <a:latin typeface="Arial"/>
                <a:ea typeface="Calibri"/>
                <a:cs typeface="Arial"/>
              </a:rPr>
              <a:t> of April 2025 (hybrid in Berlin)</a:t>
            </a:r>
            <a:endParaRPr lang="en-GB" sz="1300" b="1" noProof="0" dirty="0">
              <a:latin typeface="Arial"/>
              <a:ea typeface="Calibri"/>
              <a:cs typeface="Arial"/>
            </a:endParaRP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30</a:t>
            </a:r>
            <a:r>
              <a:rPr lang="en-GB" sz="1300" baseline="30000" noProof="0" dirty="0">
                <a:latin typeface="Arial"/>
                <a:ea typeface="Calibri"/>
                <a:cs typeface="Arial"/>
              </a:rPr>
              <a:t>th</a:t>
            </a:r>
            <a:r>
              <a:rPr lang="en-GB" sz="1300" noProof="0" dirty="0">
                <a:latin typeface="Arial"/>
                <a:ea typeface="Calibri"/>
                <a:cs typeface="Arial"/>
              </a:rPr>
              <a:t> of April 2025 (virtual)</a:t>
            </a: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5</a:t>
            </a:r>
            <a:r>
              <a:rPr lang="en-GB" sz="1300" baseline="30000" noProof="0" dirty="0">
                <a:latin typeface="Arial"/>
                <a:ea typeface="Calibri"/>
                <a:cs typeface="Arial"/>
              </a:rPr>
              <a:t>th</a:t>
            </a:r>
            <a:r>
              <a:rPr lang="en-GB" sz="1300" noProof="0" dirty="0">
                <a:latin typeface="Arial"/>
                <a:ea typeface="Calibri"/>
                <a:cs typeface="Arial"/>
              </a:rPr>
              <a:t> of June 2025 (virtual)</a:t>
            </a: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6</a:t>
            </a:r>
            <a:r>
              <a:rPr lang="en-GB" sz="1300" baseline="30000" noProof="0" dirty="0">
                <a:latin typeface="Arial"/>
                <a:ea typeface="Calibri"/>
                <a:cs typeface="Arial"/>
              </a:rPr>
              <a:t>th</a:t>
            </a:r>
            <a:r>
              <a:rPr lang="en-GB" sz="1300" noProof="0" dirty="0">
                <a:latin typeface="Arial"/>
                <a:ea typeface="Calibri"/>
                <a:cs typeface="Arial"/>
              </a:rPr>
              <a:t> of June 2025 (virtual)</a:t>
            </a: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18</a:t>
            </a:r>
            <a:r>
              <a:rPr lang="en-GB" sz="1300" baseline="30000" noProof="0" dirty="0">
                <a:latin typeface="Arial"/>
                <a:ea typeface="Calibri"/>
                <a:cs typeface="Arial"/>
              </a:rPr>
              <a:t>th</a:t>
            </a:r>
            <a:r>
              <a:rPr lang="en-GB" sz="1300" noProof="0" dirty="0">
                <a:latin typeface="Arial"/>
                <a:ea typeface="Calibri"/>
                <a:cs typeface="Arial"/>
              </a:rPr>
              <a:t> of June 2025 (virtual)</a:t>
            </a: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8-11</a:t>
            </a:r>
            <a:r>
              <a:rPr lang="en-GB" sz="1300" baseline="30000" noProof="0" dirty="0">
                <a:latin typeface="Arial"/>
                <a:ea typeface="Calibri"/>
                <a:cs typeface="Arial"/>
              </a:rPr>
              <a:t>th</a:t>
            </a:r>
            <a:r>
              <a:rPr lang="en-GB" sz="1300" noProof="0" dirty="0">
                <a:latin typeface="Arial"/>
                <a:ea typeface="Calibri"/>
                <a:cs typeface="Arial"/>
              </a:rPr>
              <a:t> of July 2025 (hybrid in Brussels)</a:t>
            </a: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6</a:t>
            </a:r>
            <a:r>
              <a:rPr lang="en-GB" sz="1300" baseline="30000" noProof="0" dirty="0">
                <a:latin typeface="Arial"/>
                <a:ea typeface="Calibri"/>
                <a:cs typeface="Arial"/>
              </a:rPr>
              <a:t>th</a:t>
            </a:r>
            <a:r>
              <a:rPr lang="en-GB" sz="1300" noProof="0" dirty="0">
                <a:latin typeface="Arial"/>
                <a:ea typeface="Calibri"/>
                <a:cs typeface="Arial"/>
              </a:rPr>
              <a:t> of August 2025 (virtual)</a:t>
            </a:r>
          </a:p>
          <a:p>
            <a:pPr marL="342900" indent="-342900">
              <a:lnSpc>
                <a:spcPct val="100000"/>
              </a:lnSpc>
              <a:spcBef>
                <a:spcPts val="300"/>
              </a:spcBef>
              <a:spcAft>
                <a:spcPts val="300"/>
              </a:spcAft>
              <a:buFont typeface="+mj-lt"/>
              <a:buAutoNum type="arabicParenR"/>
            </a:pPr>
            <a:r>
              <a:rPr lang="en-GB" sz="1300" noProof="0" dirty="0">
                <a:latin typeface="Arial"/>
                <a:ea typeface="Calibri"/>
                <a:cs typeface="Arial"/>
              </a:rPr>
              <a:t>2</a:t>
            </a:r>
            <a:r>
              <a:rPr lang="en-GB" sz="1300" baseline="30000" noProof="0" dirty="0">
                <a:latin typeface="Arial"/>
                <a:ea typeface="Calibri"/>
                <a:cs typeface="Arial"/>
              </a:rPr>
              <a:t>nd</a:t>
            </a:r>
            <a:r>
              <a:rPr lang="en-GB" sz="1300" noProof="0" dirty="0">
                <a:latin typeface="Arial"/>
                <a:ea typeface="Calibri"/>
                <a:cs typeface="Arial"/>
              </a:rPr>
              <a:t> of September 2025 (hybrid in Geneva)</a:t>
            </a:r>
          </a:p>
        </p:txBody>
      </p:sp>
      <p:sp>
        <p:nvSpPr>
          <p:cNvPr id="29" name="Textplatzhalter 5">
            <a:extLst>
              <a:ext uri="{FF2B5EF4-FFF2-40B4-BE49-F238E27FC236}">
                <a16:creationId xmlns:a16="http://schemas.microsoft.com/office/drawing/2014/main" id="{6D6E929A-F7AA-4F27-ADEB-EC0BAADB5EAE}"/>
              </a:ext>
            </a:extLst>
          </p:cNvPr>
          <p:cNvSpPr txBox="1">
            <a:spLocks/>
          </p:cNvSpPr>
          <p:nvPr/>
        </p:nvSpPr>
        <p:spPr bwMode="gray">
          <a:xfrm>
            <a:off x="6499845" y="3639462"/>
            <a:ext cx="4547355" cy="220823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100" b="1" noProof="0" dirty="0">
                <a:solidFill>
                  <a:schemeClr val="accent6"/>
                </a:solidFill>
              </a:rPr>
              <a:t>CPs:</a:t>
            </a:r>
            <a:br>
              <a:rPr lang="en-GB" noProof="0" dirty="0"/>
            </a:br>
            <a:r>
              <a:rPr lang="en-GB" sz="1600" noProof="0" dirty="0"/>
              <a:t>Canada, China (from 30/01/2025), EC (Chair), France, Germany, India, Japan, Netherlands, Switzerland, United Kingdom</a:t>
            </a:r>
            <a:endParaRPr lang="en-GB" noProof="0" dirty="0"/>
          </a:p>
          <a:p>
            <a:r>
              <a:rPr lang="en-GB" sz="1100" b="1" noProof="0" dirty="0">
                <a:solidFill>
                  <a:schemeClr val="accent6"/>
                </a:solidFill>
              </a:rPr>
              <a:t>NGO's: </a:t>
            </a:r>
            <a:br>
              <a:rPr lang="en-GB" noProof="0" dirty="0"/>
            </a:br>
            <a:r>
              <a:rPr lang="en-GB" sz="1600" noProof="0" dirty="0"/>
              <a:t>European Tuning Organization (ETO),ETRTO, IMMA,</a:t>
            </a:r>
            <a:r>
              <a:rPr lang="en-GB" noProof="0" dirty="0"/>
              <a:t> </a:t>
            </a:r>
            <a:r>
              <a:rPr lang="en-GB" sz="1600" noProof="0" dirty="0"/>
              <a:t>ISO</a:t>
            </a:r>
            <a:r>
              <a:rPr lang="en-GB" noProof="0" dirty="0"/>
              <a:t>, </a:t>
            </a:r>
            <a:r>
              <a:rPr lang="en-GB" sz="1600" noProof="0" dirty="0"/>
              <a:t>OICA (Secretary), World Blind Union (WBU)</a:t>
            </a:r>
          </a:p>
          <a:p>
            <a:r>
              <a:rPr lang="en-GB" sz="1100" b="1" dirty="0">
                <a:solidFill>
                  <a:schemeClr val="accent6"/>
                </a:solidFill>
              </a:rPr>
              <a:t>1 individual expert</a:t>
            </a:r>
          </a:p>
        </p:txBody>
      </p:sp>
      <p:sp>
        <p:nvSpPr>
          <p:cNvPr id="30" name="Textplatzhalter 5">
            <a:extLst>
              <a:ext uri="{FF2B5EF4-FFF2-40B4-BE49-F238E27FC236}">
                <a16:creationId xmlns:a16="http://schemas.microsoft.com/office/drawing/2014/main" id="{A92E1CA3-7411-4C7F-90FC-C2DF1E85A8CE}"/>
              </a:ext>
            </a:extLst>
          </p:cNvPr>
          <p:cNvSpPr txBox="1">
            <a:spLocks/>
          </p:cNvSpPr>
          <p:nvPr/>
        </p:nvSpPr>
        <p:spPr>
          <a:xfrm>
            <a:off x="6731600" y="2868880"/>
            <a:ext cx="4888900" cy="651905"/>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GB" sz="2000" b="1" noProof="0" dirty="0"/>
              <a:t>Participants </a:t>
            </a:r>
            <a:br>
              <a:rPr lang="en-GB" sz="2000" b="1" noProof="0" dirty="0"/>
            </a:br>
            <a:r>
              <a:rPr lang="en-GB" sz="2000" b="1" noProof="0" dirty="0"/>
              <a:t>(Contracting Parties &amp; NGOs)</a:t>
            </a:r>
          </a:p>
        </p:txBody>
      </p:sp>
      <p:cxnSp>
        <p:nvCxnSpPr>
          <p:cNvPr id="31" name="Gerader Verbinder 30">
            <a:extLst>
              <a:ext uri="{FF2B5EF4-FFF2-40B4-BE49-F238E27FC236}">
                <a16:creationId xmlns:a16="http://schemas.microsoft.com/office/drawing/2014/main" id="{48D21C12-79C4-42D2-B183-359B3FEC3E79}"/>
              </a:ext>
            </a:extLst>
          </p:cNvPr>
          <p:cNvCxnSpPr/>
          <p:nvPr/>
        </p:nvCxnSpPr>
        <p:spPr>
          <a:xfrm>
            <a:off x="6354612" y="3612177"/>
            <a:ext cx="4062196" cy="0"/>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F1C2C750-E5D1-66C4-F499-9B23BAE3A492}"/>
              </a:ext>
            </a:extLst>
          </p:cNvPr>
          <p:cNvSpPr>
            <a:spLocks noGrp="1"/>
          </p:cNvSpPr>
          <p:nvPr>
            <p:ph type="ftr" sz="quarter" idx="11"/>
          </p:nvPr>
        </p:nvSpPr>
        <p:spPr/>
        <p:txBody>
          <a:bodyPr/>
          <a:lstStyle/>
          <a:p>
            <a:r>
              <a:rPr lang="en-GB" noProof="0" dirty="0"/>
              <a:t>IWG RD-ASEP SG R138 &amp; R51 / Status Report GRBP-82</a:t>
            </a:r>
          </a:p>
        </p:txBody>
      </p:sp>
      <p:sp>
        <p:nvSpPr>
          <p:cNvPr id="9" name="Slide Number Placeholder 8">
            <a:extLst>
              <a:ext uri="{FF2B5EF4-FFF2-40B4-BE49-F238E27FC236}">
                <a16:creationId xmlns:a16="http://schemas.microsoft.com/office/drawing/2014/main" id="{AF97080F-CB17-64CE-3236-E01FE01D3772}"/>
              </a:ext>
            </a:extLst>
          </p:cNvPr>
          <p:cNvSpPr>
            <a:spLocks noGrp="1"/>
          </p:cNvSpPr>
          <p:nvPr>
            <p:ph type="sldNum" sz="quarter" idx="12"/>
          </p:nvPr>
        </p:nvSpPr>
        <p:spPr/>
        <p:txBody>
          <a:bodyPr/>
          <a:lstStyle/>
          <a:p>
            <a:fld id="{B72E1402-C48D-4BE1-B5C4-3ED179C88C9E}" type="slidenum">
              <a:rPr lang="en-GB" noProof="0" smtClean="0"/>
              <a:t>2</a:t>
            </a:fld>
            <a:endParaRPr lang="en-GB" noProof="0" dirty="0"/>
          </a:p>
        </p:txBody>
      </p:sp>
    </p:spTree>
    <p:extLst>
      <p:ext uri="{BB962C8B-B14F-4D97-AF65-F5344CB8AC3E}">
        <p14:creationId xmlns:p14="http://schemas.microsoft.com/office/powerpoint/2010/main" val="75837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061D5E-DD43-1B21-0F4F-CB086049063E}"/>
              </a:ext>
            </a:extLst>
          </p:cNvPr>
          <p:cNvSpPr>
            <a:spLocks noGrp="1"/>
          </p:cNvSpPr>
          <p:nvPr>
            <p:ph type="title"/>
          </p:nvPr>
        </p:nvSpPr>
        <p:spPr/>
        <p:txBody>
          <a:bodyPr/>
          <a:lstStyle/>
          <a:p>
            <a:r>
              <a:rPr lang="en-GB" b="1" noProof="0" dirty="0"/>
              <a:t>Objectives of the subgroup</a:t>
            </a:r>
          </a:p>
        </p:txBody>
      </p:sp>
      <p:sp>
        <p:nvSpPr>
          <p:cNvPr id="3" name="Tijdelijke aanduiding voor inhoud 2">
            <a:extLst>
              <a:ext uri="{FF2B5EF4-FFF2-40B4-BE49-F238E27FC236}">
                <a16:creationId xmlns:a16="http://schemas.microsoft.com/office/drawing/2014/main" id="{A23CA6B5-826D-7688-5F39-411F78DD0CFF}"/>
              </a:ext>
            </a:extLst>
          </p:cNvPr>
          <p:cNvSpPr>
            <a:spLocks noGrp="1"/>
          </p:cNvSpPr>
          <p:nvPr>
            <p:ph idx="1"/>
          </p:nvPr>
        </p:nvSpPr>
        <p:spPr>
          <a:xfrm>
            <a:off x="838200" y="1825625"/>
            <a:ext cx="10631750" cy="4143492"/>
          </a:xfrm>
        </p:spPr>
        <p:txBody>
          <a:bodyPr vert="horz" lIns="91440" tIns="45720" rIns="91440" bIns="45720" rtlCol="0" anchor="t">
            <a:normAutofit/>
          </a:bodyPr>
          <a:lstStyle/>
          <a:p>
            <a:pPr algn="just">
              <a:buFont typeface="Wingdings" panose="05000000000000000000" pitchFamily="2" charset="2"/>
              <a:buChar char="§"/>
            </a:pPr>
            <a:r>
              <a:rPr lang="en-GB" noProof="0" dirty="0"/>
              <a:t>Subject: find a satisfactory solution regarding the sound emissions of EVs and update UN-R 138 and UN-R 51 accordingly </a:t>
            </a:r>
          </a:p>
          <a:p>
            <a:pPr algn="just">
              <a:buFont typeface="Wingdings" panose="05000000000000000000" pitchFamily="2" charset="2"/>
              <a:buChar char="§"/>
            </a:pPr>
            <a:r>
              <a:rPr lang="en-GB" noProof="0" dirty="0"/>
              <a:t>Timeline: working documents or, at least, informal ones were planned to be submitted to GRBP in September 2025 for both regulations (difficult to move on one without moving on the other as a satisfactory hand-shake is needed)</a:t>
            </a:r>
          </a:p>
          <a:p>
            <a:pPr algn="just">
              <a:buFont typeface="Wingdings" panose="05000000000000000000" pitchFamily="2" charset="2"/>
              <a:buChar char="§"/>
            </a:pPr>
            <a:r>
              <a:rPr lang="en-GB" noProof="0" dirty="0"/>
              <a:t>Due to extensive discussions, the documents should be submitted to the GRBP </a:t>
            </a:r>
            <a:r>
              <a:rPr lang="en-GB" dirty="0"/>
              <a:t>for</a:t>
            </a:r>
            <a:r>
              <a:rPr lang="en-GB" noProof="0" dirty="0"/>
              <a:t> February 2026</a:t>
            </a:r>
          </a:p>
          <a:p>
            <a:pPr marL="514350" indent="-514350">
              <a:buFont typeface="Aptos Display" panose="02110004020202020204"/>
              <a:buAutoNum type="alphaLcPeriod"/>
            </a:pPr>
            <a:endParaRPr lang="en-GB" noProof="0" dirty="0"/>
          </a:p>
        </p:txBody>
      </p:sp>
      <p:sp>
        <p:nvSpPr>
          <p:cNvPr id="4" name="Tijdelijke aanduiding voor voettekst 3">
            <a:extLst>
              <a:ext uri="{FF2B5EF4-FFF2-40B4-BE49-F238E27FC236}">
                <a16:creationId xmlns:a16="http://schemas.microsoft.com/office/drawing/2014/main" id="{6C937CFF-8FD8-99AF-A115-CCE0CC922F54}"/>
              </a:ext>
            </a:extLst>
          </p:cNvPr>
          <p:cNvSpPr>
            <a:spLocks noGrp="1"/>
          </p:cNvSpPr>
          <p:nvPr>
            <p:ph type="ftr" sz="quarter" idx="11"/>
          </p:nvPr>
        </p:nvSpPr>
        <p:spPr/>
        <p:txBody>
          <a:bodyPr/>
          <a:lstStyle/>
          <a:p>
            <a:r>
              <a:rPr lang="en-GB" noProof="0" dirty="0"/>
              <a:t>IWG RD-ASEP SG R138 &amp; R51 / Status Report GRBP-82</a:t>
            </a:r>
          </a:p>
        </p:txBody>
      </p:sp>
      <p:sp>
        <p:nvSpPr>
          <p:cNvPr id="5" name="Tijdelijke aanduiding voor dianummer 4">
            <a:extLst>
              <a:ext uri="{FF2B5EF4-FFF2-40B4-BE49-F238E27FC236}">
                <a16:creationId xmlns:a16="http://schemas.microsoft.com/office/drawing/2014/main" id="{348E16D8-0247-16AF-7461-E614B31072C4}"/>
              </a:ext>
            </a:extLst>
          </p:cNvPr>
          <p:cNvSpPr>
            <a:spLocks noGrp="1"/>
          </p:cNvSpPr>
          <p:nvPr>
            <p:ph type="sldNum" sz="quarter" idx="12"/>
          </p:nvPr>
        </p:nvSpPr>
        <p:spPr/>
        <p:txBody>
          <a:bodyPr/>
          <a:lstStyle/>
          <a:p>
            <a:fld id="{2841C71D-2238-443E-A15A-464DE884A775}" type="slidenum">
              <a:rPr lang="en-GB" noProof="0" smtClean="0"/>
              <a:t>3</a:t>
            </a:fld>
            <a:endParaRPr lang="en-GB" noProof="0" dirty="0"/>
          </a:p>
        </p:txBody>
      </p:sp>
      <p:sp>
        <p:nvSpPr>
          <p:cNvPr id="8" name="Rectangle 2">
            <a:extLst>
              <a:ext uri="{FF2B5EF4-FFF2-40B4-BE49-F238E27FC236}">
                <a16:creationId xmlns:a16="http://schemas.microsoft.com/office/drawing/2014/main" id="{7EE7AE92-3102-2B1F-E231-24F93D9A70F4}"/>
              </a:ext>
            </a:extLst>
          </p:cNvPr>
          <p:cNvSpPr>
            <a:spLocks noChangeArrowheads="1"/>
          </p:cNvSpPr>
          <p:nvPr/>
        </p:nvSpPr>
        <p:spPr bwMode="auto">
          <a:xfrm>
            <a:off x="838200" y="5969117"/>
            <a:ext cx="184731"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lang="en-GB" sz="900" b="1" i="0" u="none" strike="noStrike" cap="none" normalizeH="0" baseline="0" noProof="0" dirty="0">
              <a:ln>
                <a:noFill/>
              </a:ln>
              <a:solidFill>
                <a:srgbClr val="333333"/>
              </a:solidFill>
              <a:effectLst/>
              <a:cs typeface="Arial"/>
            </a:endParaRPr>
          </a:p>
        </p:txBody>
      </p:sp>
    </p:spTree>
    <p:extLst>
      <p:ext uri="{BB962C8B-B14F-4D97-AF65-F5344CB8AC3E}">
        <p14:creationId xmlns:p14="http://schemas.microsoft.com/office/powerpoint/2010/main" val="20233012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061D5E-DD43-1B21-0F4F-CB086049063E}"/>
              </a:ext>
            </a:extLst>
          </p:cNvPr>
          <p:cNvSpPr>
            <a:spLocks noGrp="1"/>
          </p:cNvSpPr>
          <p:nvPr>
            <p:ph type="title"/>
          </p:nvPr>
        </p:nvSpPr>
        <p:spPr>
          <a:xfrm>
            <a:off x="838200" y="365125"/>
            <a:ext cx="10515600" cy="1000967"/>
          </a:xfrm>
        </p:spPr>
        <p:txBody>
          <a:bodyPr>
            <a:normAutofit/>
          </a:bodyPr>
          <a:lstStyle/>
          <a:p>
            <a:pPr>
              <a:lnSpc>
                <a:spcPct val="100000"/>
              </a:lnSpc>
            </a:pPr>
            <a:r>
              <a:rPr lang="en-GB" sz="3600" b="1" noProof="0" dirty="0"/>
              <a:t>Method and main orientations of the subgroup (1/2)</a:t>
            </a:r>
          </a:p>
        </p:txBody>
      </p:sp>
      <p:sp>
        <p:nvSpPr>
          <p:cNvPr id="3" name="Tijdelijke aanduiding voor inhoud 2">
            <a:extLst>
              <a:ext uri="{FF2B5EF4-FFF2-40B4-BE49-F238E27FC236}">
                <a16:creationId xmlns:a16="http://schemas.microsoft.com/office/drawing/2014/main" id="{A23CA6B5-826D-7688-5F39-411F78DD0CFF}"/>
              </a:ext>
            </a:extLst>
          </p:cNvPr>
          <p:cNvSpPr>
            <a:spLocks noGrp="1"/>
          </p:cNvSpPr>
          <p:nvPr>
            <p:ph idx="1"/>
          </p:nvPr>
        </p:nvSpPr>
        <p:spPr>
          <a:xfrm>
            <a:off x="838200" y="1730829"/>
            <a:ext cx="10631750" cy="4760023"/>
          </a:xfrm>
        </p:spPr>
        <p:txBody>
          <a:bodyPr vert="horz" lIns="91440" tIns="45720" rIns="91440" bIns="45720" rtlCol="0" anchor="t">
            <a:normAutofit/>
          </a:bodyPr>
          <a:lstStyle/>
          <a:p>
            <a:pPr algn="just">
              <a:buFont typeface="Wingdings" panose="05000000000000000000" pitchFamily="2" charset="2"/>
              <a:buChar char="§"/>
            </a:pPr>
            <a:r>
              <a:rPr lang="en-GB" noProof="0" dirty="0"/>
              <a:t>Discuss ideas and different options and their effects on safety and environment before drafting. Post February 2025 GRBP changes requested by part of the group: no more discussion on ideas but only on the text and work on UNR 51 first.</a:t>
            </a:r>
            <a:endParaRPr lang="en-GB" strike="sngStrike" noProof="0" dirty="0"/>
          </a:p>
          <a:p>
            <a:pPr algn="just">
              <a:buFont typeface="Wingdings" panose="05000000000000000000" pitchFamily="2" charset="2"/>
              <a:buChar char="§"/>
            </a:pPr>
            <a:r>
              <a:rPr lang="en-GB" dirty="0"/>
              <a:t>On UN-R 51: agreement on the introduction of EVs in the scope of Annex 7 (ASEP) and on the urgency to do so. At the same time, request from OICA to address optional sounds which makes the discussions more complex.</a:t>
            </a:r>
          </a:p>
        </p:txBody>
      </p:sp>
      <p:sp>
        <p:nvSpPr>
          <p:cNvPr id="4" name="Tijdelijke aanduiding voor voettekst 3">
            <a:extLst>
              <a:ext uri="{FF2B5EF4-FFF2-40B4-BE49-F238E27FC236}">
                <a16:creationId xmlns:a16="http://schemas.microsoft.com/office/drawing/2014/main" id="{6C937CFF-8FD8-99AF-A115-CCE0CC922F54}"/>
              </a:ext>
            </a:extLst>
          </p:cNvPr>
          <p:cNvSpPr>
            <a:spLocks noGrp="1"/>
          </p:cNvSpPr>
          <p:nvPr>
            <p:ph type="ftr" sz="quarter" idx="11"/>
          </p:nvPr>
        </p:nvSpPr>
        <p:spPr/>
        <p:txBody>
          <a:bodyPr/>
          <a:lstStyle/>
          <a:p>
            <a:r>
              <a:rPr lang="en-GB" noProof="0" dirty="0"/>
              <a:t>IWG RD-ASEP SG R138 &amp; R51 / Status Report GRBP-82</a:t>
            </a:r>
          </a:p>
        </p:txBody>
      </p:sp>
      <p:sp>
        <p:nvSpPr>
          <p:cNvPr id="5" name="Tijdelijke aanduiding voor dianummer 4">
            <a:extLst>
              <a:ext uri="{FF2B5EF4-FFF2-40B4-BE49-F238E27FC236}">
                <a16:creationId xmlns:a16="http://schemas.microsoft.com/office/drawing/2014/main" id="{348E16D8-0247-16AF-7461-E614B31072C4}"/>
              </a:ext>
            </a:extLst>
          </p:cNvPr>
          <p:cNvSpPr>
            <a:spLocks noGrp="1"/>
          </p:cNvSpPr>
          <p:nvPr>
            <p:ph type="sldNum" sz="quarter" idx="12"/>
          </p:nvPr>
        </p:nvSpPr>
        <p:spPr/>
        <p:txBody>
          <a:bodyPr/>
          <a:lstStyle/>
          <a:p>
            <a:fld id="{2841C71D-2238-443E-A15A-464DE884A775}" type="slidenum">
              <a:rPr lang="en-GB" noProof="0" smtClean="0"/>
              <a:t>4</a:t>
            </a:fld>
            <a:endParaRPr lang="en-GB" noProof="0" dirty="0"/>
          </a:p>
        </p:txBody>
      </p:sp>
      <p:sp>
        <p:nvSpPr>
          <p:cNvPr id="8" name="Rectangle 2">
            <a:extLst>
              <a:ext uri="{FF2B5EF4-FFF2-40B4-BE49-F238E27FC236}">
                <a16:creationId xmlns:a16="http://schemas.microsoft.com/office/drawing/2014/main" id="{7EE7AE92-3102-2B1F-E231-24F93D9A70F4}"/>
              </a:ext>
            </a:extLst>
          </p:cNvPr>
          <p:cNvSpPr>
            <a:spLocks noChangeArrowheads="1"/>
          </p:cNvSpPr>
          <p:nvPr/>
        </p:nvSpPr>
        <p:spPr bwMode="auto">
          <a:xfrm>
            <a:off x="838200" y="5969117"/>
            <a:ext cx="184731"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lang="en-GB" sz="900" b="1" i="0" u="none" strike="noStrike" cap="none" normalizeH="0" baseline="0" noProof="0" dirty="0">
              <a:ln>
                <a:noFill/>
              </a:ln>
              <a:solidFill>
                <a:srgbClr val="333333"/>
              </a:solidFill>
              <a:effectLst/>
              <a:cs typeface="Arial"/>
            </a:endParaRPr>
          </a:p>
        </p:txBody>
      </p:sp>
    </p:spTree>
    <p:extLst>
      <p:ext uri="{BB962C8B-B14F-4D97-AF65-F5344CB8AC3E}">
        <p14:creationId xmlns:p14="http://schemas.microsoft.com/office/powerpoint/2010/main" val="12445225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061D5E-DD43-1B21-0F4F-CB086049063E}"/>
              </a:ext>
            </a:extLst>
          </p:cNvPr>
          <p:cNvSpPr>
            <a:spLocks noGrp="1"/>
          </p:cNvSpPr>
          <p:nvPr>
            <p:ph type="title"/>
          </p:nvPr>
        </p:nvSpPr>
        <p:spPr>
          <a:xfrm>
            <a:off x="838200" y="365125"/>
            <a:ext cx="10515600" cy="1000967"/>
          </a:xfrm>
        </p:spPr>
        <p:txBody>
          <a:bodyPr>
            <a:normAutofit/>
          </a:bodyPr>
          <a:lstStyle/>
          <a:p>
            <a:pPr>
              <a:lnSpc>
                <a:spcPct val="100000"/>
              </a:lnSpc>
            </a:pPr>
            <a:r>
              <a:rPr lang="en-GB" sz="3600" b="1" noProof="0" dirty="0"/>
              <a:t>Method and main orientations of the subgroup (2/2)</a:t>
            </a:r>
          </a:p>
        </p:txBody>
      </p:sp>
      <p:sp>
        <p:nvSpPr>
          <p:cNvPr id="3" name="Tijdelijke aanduiding voor inhoud 2">
            <a:extLst>
              <a:ext uri="{FF2B5EF4-FFF2-40B4-BE49-F238E27FC236}">
                <a16:creationId xmlns:a16="http://schemas.microsoft.com/office/drawing/2014/main" id="{A23CA6B5-826D-7688-5F39-411F78DD0CFF}"/>
              </a:ext>
            </a:extLst>
          </p:cNvPr>
          <p:cNvSpPr>
            <a:spLocks noGrp="1"/>
          </p:cNvSpPr>
          <p:nvPr>
            <p:ph idx="1"/>
          </p:nvPr>
        </p:nvSpPr>
        <p:spPr>
          <a:xfrm>
            <a:off x="838200" y="1464960"/>
            <a:ext cx="10631750" cy="4817173"/>
          </a:xfrm>
        </p:spPr>
        <p:txBody>
          <a:bodyPr vert="horz" lIns="91440" tIns="45720" rIns="91440" bIns="45720" rtlCol="0" anchor="t">
            <a:normAutofit lnSpcReduction="10000"/>
          </a:bodyPr>
          <a:lstStyle/>
          <a:p>
            <a:pPr algn="just">
              <a:buFont typeface="Wingdings" panose="05000000000000000000" pitchFamily="2" charset="2"/>
              <a:buChar char="§"/>
            </a:pPr>
            <a:r>
              <a:rPr lang="en-GB" dirty="0"/>
              <a:t>Justification and targets of UN-R 138</a:t>
            </a:r>
          </a:p>
          <a:p>
            <a:pPr lvl="1" algn="just">
              <a:buFont typeface="Wingdings" panose="05000000000000000000" pitchFamily="2" charset="2"/>
              <a:buChar char="§"/>
            </a:pPr>
            <a:r>
              <a:rPr lang="en-GB" kern="100" dirty="0">
                <a:ea typeface="DengXian" panose="02010600030101010101" pitchFamily="2" charset="-122"/>
                <a:cs typeface="Times New Roman" panose="02020603050405020304" pitchFamily="18" charset="0"/>
              </a:rPr>
              <a:t>The addition of a sound is justified by the safety issue created by the reduced audibility of quiet vehicles at lower speed. </a:t>
            </a:r>
          </a:p>
          <a:p>
            <a:pPr lvl="1" algn="just">
              <a:buFont typeface="Wingdings" panose="05000000000000000000" pitchFamily="2" charset="2"/>
              <a:buChar char="§"/>
            </a:pPr>
            <a:r>
              <a:rPr lang="en-GB" kern="100" dirty="0">
                <a:ea typeface="DengXian" panose="02010600030101010101" pitchFamily="2" charset="-122"/>
                <a:cs typeface="Times New Roman" panose="02020603050405020304" pitchFamily="18" charset="0"/>
              </a:rPr>
              <a:t>As this additional sound raises the sound level to which road users are exposed and has a direct impact on the environment, it should not be too loud.</a:t>
            </a:r>
            <a:endParaRPr lang="en-GB" sz="3200" dirty="0"/>
          </a:p>
          <a:p>
            <a:pPr marL="311150" indent="-457200" algn="just">
              <a:buFont typeface="Wingdings" panose="05000000000000000000" pitchFamily="2" charset="2"/>
              <a:buChar char="§"/>
            </a:pPr>
            <a:r>
              <a:rPr lang="en-GB" dirty="0"/>
              <a:t>Main orientations on UN-R 138</a:t>
            </a:r>
          </a:p>
          <a:p>
            <a:pPr marL="539750" lvl="1" algn="just">
              <a:buFont typeface="Wingdings" panose="05000000000000000000" pitchFamily="2" charset="2"/>
              <a:buChar char="§"/>
            </a:pPr>
            <a:r>
              <a:rPr lang="en-GB" noProof="0" dirty="0"/>
              <a:t>On safety: agreement on the need to ensure an adequate level of safety (safety does not only rely on AVAS)</a:t>
            </a:r>
          </a:p>
          <a:p>
            <a:pPr marL="539750" lvl="1" algn="just">
              <a:buFont typeface="Wingdings" panose="05000000000000000000" pitchFamily="2" charset="2"/>
              <a:buChar char="§"/>
            </a:pPr>
            <a:r>
              <a:rPr lang="en-GB" noProof="0" dirty="0"/>
              <a:t>On environment (as max SPLs are included in UNR 138):</a:t>
            </a:r>
          </a:p>
          <a:p>
            <a:pPr marL="715963" lvl="2" algn="just">
              <a:buFont typeface="Wingdings" panose="05000000000000000000" pitchFamily="2" charset="2"/>
              <a:buChar char="§"/>
            </a:pPr>
            <a:r>
              <a:rPr lang="en-GB" sz="2400" noProof="0" dirty="0"/>
              <a:t>CPs emphasize the need to take advantage of the switch to EVs to diminish urban noise</a:t>
            </a:r>
          </a:p>
          <a:p>
            <a:pPr marL="715963" lvl="2" algn="just">
              <a:buFont typeface="Wingdings" panose="05000000000000000000" pitchFamily="2" charset="2"/>
              <a:buChar char="§"/>
            </a:pPr>
            <a:r>
              <a:rPr lang="en-GB" sz="2400" noProof="0" dirty="0"/>
              <a:t>request from the industry to “keep agreeable flexibility in vehicle sound design where environment is not at stake”</a:t>
            </a:r>
          </a:p>
        </p:txBody>
      </p:sp>
      <p:sp>
        <p:nvSpPr>
          <p:cNvPr id="4" name="Tijdelijke aanduiding voor voettekst 3">
            <a:extLst>
              <a:ext uri="{FF2B5EF4-FFF2-40B4-BE49-F238E27FC236}">
                <a16:creationId xmlns:a16="http://schemas.microsoft.com/office/drawing/2014/main" id="{6C937CFF-8FD8-99AF-A115-CCE0CC922F54}"/>
              </a:ext>
            </a:extLst>
          </p:cNvPr>
          <p:cNvSpPr>
            <a:spLocks noGrp="1"/>
          </p:cNvSpPr>
          <p:nvPr>
            <p:ph type="ftr" sz="quarter" idx="11"/>
          </p:nvPr>
        </p:nvSpPr>
        <p:spPr/>
        <p:txBody>
          <a:bodyPr/>
          <a:lstStyle/>
          <a:p>
            <a:r>
              <a:rPr lang="en-GB" noProof="0" dirty="0"/>
              <a:t>IWG RD-ASEP SG R138 &amp; R51 / Status Report GRBP-82</a:t>
            </a:r>
          </a:p>
        </p:txBody>
      </p:sp>
      <p:sp>
        <p:nvSpPr>
          <p:cNvPr id="5" name="Tijdelijke aanduiding voor dianummer 4">
            <a:extLst>
              <a:ext uri="{FF2B5EF4-FFF2-40B4-BE49-F238E27FC236}">
                <a16:creationId xmlns:a16="http://schemas.microsoft.com/office/drawing/2014/main" id="{348E16D8-0247-16AF-7461-E614B31072C4}"/>
              </a:ext>
            </a:extLst>
          </p:cNvPr>
          <p:cNvSpPr>
            <a:spLocks noGrp="1"/>
          </p:cNvSpPr>
          <p:nvPr>
            <p:ph type="sldNum" sz="quarter" idx="12"/>
          </p:nvPr>
        </p:nvSpPr>
        <p:spPr/>
        <p:txBody>
          <a:bodyPr/>
          <a:lstStyle/>
          <a:p>
            <a:fld id="{2841C71D-2238-443E-A15A-464DE884A775}" type="slidenum">
              <a:rPr lang="en-GB" noProof="0" smtClean="0"/>
              <a:t>5</a:t>
            </a:fld>
            <a:endParaRPr lang="en-GB" noProof="0" dirty="0"/>
          </a:p>
        </p:txBody>
      </p:sp>
      <p:sp>
        <p:nvSpPr>
          <p:cNvPr id="8" name="Rectangle 2">
            <a:extLst>
              <a:ext uri="{FF2B5EF4-FFF2-40B4-BE49-F238E27FC236}">
                <a16:creationId xmlns:a16="http://schemas.microsoft.com/office/drawing/2014/main" id="{7EE7AE92-3102-2B1F-E231-24F93D9A70F4}"/>
              </a:ext>
            </a:extLst>
          </p:cNvPr>
          <p:cNvSpPr>
            <a:spLocks noChangeArrowheads="1"/>
          </p:cNvSpPr>
          <p:nvPr/>
        </p:nvSpPr>
        <p:spPr bwMode="auto">
          <a:xfrm>
            <a:off x="838200" y="5969117"/>
            <a:ext cx="184731"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lang="en-GB" sz="900" b="1" i="0" u="none" strike="noStrike" cap="none" normalizeH="0" baseline="0" noProof="0" dirty="0">
              <a:ln>
                <a:noFill/>
              </a:ln>
              <a:solidFill>
                <a:srgbClr val="333333"/>
              </a:solidFill>
              <a:effectLst/>
              <a:cs typeface="Arial"/>
            </a:endParaRPr>
          </a:p>
        </p:txBody>
      </p:sp>
    </p:spTree>
    <p:extLst>
      <p:ext uri="{BB962C8B-B14F-4D97-AF65-F5344CB8AC3E}">
        <p14:creationId xmlns:p14="http://schemas.microsoft.com/office/powerpoint/2010/main" val="20395234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9B33E-B8E7-0098-2274-1F39A2A2DCFA}"/>
              </a:ext>
            </a:extLst>
          </p:cNvPr>
          <p:cNvSpPr>
            <a:spLocks noGrp="1"/>
          </p:cNvSpPr>
          <p:nvPr>
            <p:ph type="title"/>
          </p:nvPr>
        </p:nvSpPr>
        <p:spPr>
          <a:xfrm>
            <a:off x="838200" y="365125"/>
            <a:ext cx="10515600" cy="1056171"/>
          </a:xfrm>
        </p:spPr>
        <p:txBody>
          <a:bodyPr>
            <a:normAutofit/>
          </a:bodyPr>
          <a:lstStyle/>
          <a:p>
            <a:r>
              <a:rPr lang="en-GB" sz="4000" b="1" dirty="0"/>
              <a:t>Progress on UN-R 51(1/2)</a:t>
            </a:r>
          </a:p>
        </p:txBody>
      </p:sp>
      <p:sp>
        <p:nvSpPr>
          <p:cNvPr id="3" name="Content Placeholder 2">
            <a:extLst>
              <a:ext uri="{FF2B5EF4-FFF2-40B4-BE49-F238E27FC236}">
                <a16:creationId xmlns:a16="http://schemas.microsoft.com/office/drawing/2014/main" id="{8F3AAE0F-3BED-C610-837E-779890483DBA}"/>
              </a:ext>
            </a:extLst>
          </p:cNvPr>
          <p:cNvSpPr>
            <a:spLocks noGrp="1"/>
          </p:cNvSpPr>
          <p:nvPr>
            <p:ph idx="1"/>
          </p:nvPr>
        </p:nvSpPr>
        <p:spPr>
          <a:xfrm>
            <a:off x="838200" y="1547332"/>
            <a:ext cx="10515600" cy="4945543"/>
          </a:xfrm>
        </p:spPr>
        <p:txBody>
          <a:bodyPr>
            <a:normAutofit fontScale="92500" lnSpcReduction="10000"/>
          </a:bodyPr>
          <a:lstStyle/>
          <a:p>
            <a:r>
              <a:rPr lang="en-GB" noProof="0" dirty="0"/>
              <a:t>It was decided to use the OICA proposal (working document GRBP/2025/29) as a basis for UN-R 51.</a:t>
            </a:r>
          </a:p>
          <a:p>
            <a:r>
              <a:rPr lang="en-GB" noProof="0" dirty="0"/>
              <a:t>2 main points discussed on UN-R 51: addition of optional sounds and SPL limit lines for M1 and N1 EVs.</a:t>
            </a:r>
          </a:p>
          <a:p>
            <a:r>
              <a:rPr lang="en-GB" dirty="0"/>
              <a:t>Comments submitted by CPs on the addition of optional sounds:</a:t>
            </a:r>
          </a:p>
          <a:p>
            <a:pPr lvl="1"/>
            <a:r>
              <a:rPr lang="en-GB" sz="2600" dirty="0"/>
              <a:t>In the mandatory AVAS area (i.e. till 20 kph), the AVAS requirements have to be fulfilled by the vehicle equipped with all sound systems</a:t>
            </a:r>
          </a:p>
          <a:p>
            <a:pPr lvl="1"/>
            <a:r>
              <a:rPr lang="en-GB" sz="2600" dirty="0"/>
              <a:t>It should be possible to switch optional sounds off and optional sounds should be “off” when the vehicle starts</a:t>
            </a:r>
          </a:p>
          <a:p>
            <a:pPr lvl="2"/>
            <a:r>
              <a:rPr lang="en-GB" sz="2200" dirty="0"/>
              <a:t>Consequence: back-to back testing is possible to assess the level of optional sound (without any requirement at type approval stage)</a:t>
            </a:r>
          </a:p>
          <a:p>
            <a:pPr lvl="1"/>
            <a:r>
              <a:rPr lang="en-GB" sz="2600" noProof="0" dirty="0"/>
              <a:t>Need to avoid noise discontinuities</a:t>
            </a:r>
          </a:p>
          <a:p>
            <a:pPr lvl="1"/>
            <a:r>
              <a:rPr lang="en-GB" sz="2600" noProof="0" dirty="0"/>
              <a:t>Need to regulate the content of the optional sound to ensure it reflects the expected sound of a vehicle</a:t>
            </a:r>
          </a:p>
        </p:txBody>
      </p:sp>
      <p:sp>
        <p:nvSpPr>
          <p:cNvPr id="4" name="Footer Placeholder 3">
            <a:extLst>
              <a:ext uri="{FF2B5EF4-FFF2-40B4-BE49-F238E27FC236}">
                <a16:creationId xmlns:a16="http://schemas.microsoft.com/office/drawing/2014/main" id="{AB0FC03E-53ED-C779-810A-2C832B8B1E85}"/>
              </a:ext>
            </a:extLst>
          </p:cNvPr>
          <p:cNvSpPr>
            <a:spLocks noGrp="1"/>
          </p:cNvSpPr>
          <p:nvPr>
            <p:ph type="ftr" sz="quarter" idx="11"/>
          </p:nvPr>
        </p:nvSpPr>
        <p:spPr/>
        <p:txBody>
          <a:bodyPr/>
          <a:lstStyle/>
          <a:p>
            <a:r>
              <a:rPr lang="en-GB" noProof="0" dirty="0"/>
              <a:t>IWG RD-ASEP SG R138 &amp; R51 / Status Report GRBP-82</a:t>
            </a:r>
          </a:p>
        </p:txBody>
      </p:sp>
      <p:sp>
        <p:nvSpPr>
          <p:cNvPr id="5" name="Slide Number Placeholder 4">
            <a:extLst>
              <a:ext uri="{FF2B5EF4-FFF2-40B4-BE49-F238E27FC236}">
                <a16:creationId xmlns:a16="http://schemas.microsoft.com/office/drawing/2014/main" id="{09DC188B-55C5-EF57-C5B4-A3AF8DDDA702}"/>
              </a:ext>
            </a:extLst>
          </p:cNvPr>
          <p:cNvSpPr>
            <a:spLocks noGrp="1"/>
          </p:cNvSpPr>
          <p:nvPr>
            <p:ph type="sldNum" sz="quarter" idx="12"/>
          </p:nvPr>
        </p:nvSpPr>
        <p:spPr/>
        <p:txBody>
          <a:bodyPr/>
          <a:lstStyle/>
          <a:p>
            <a:fld id="{B72E1402-C48D-4BE1-B5C4-3ED179C88C9E}" type="slidenum">
              <a:rPr lang="en-GB" noProof="0" smtClean="0"/>
              <a:t>6</a:t>
            </a:fld>
            <a:endParaRPr lang="en-GB" noProof="0" dirty="0"/>
          </a:p>
        </p:txBody>
      </p:sp>
    </p:spTree>
    <p:extLst>
      <p:ext uri="{BB962C8B-B14F-4D97-AF65-F5344CB8AC3E}">
        <p14:creationId xmlns:p14="http://schemas.microsoft.com/office/powerpoint/2010/main" val="11755310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D27EAB-DB63-F115-BCAA-2B7D4077685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87E63B-1B47-F51E-E795-977ACBA66B2D}"/>
              </a:ext>
            </a:extLst>
          </p:cNvPr>
          <p:cNvSpPr>
            <a:spLocks noGrp="1"/>
          </p:cNvSpPr>
          <p:nvPr>
            <p:ph type="title"/>
          </p:nvPr>
        </p:nvSpPr>
        <p:spPr/>
        <p:txBody>
          <a:bodyPr>
            <a:normAutofit/>
          </a:bodyPr>
          <a:lstStyle/>
          <a:p>
            <a:r>
              <a:rPr lang="en-GB" sz="4000" b="1" dirty="0"/>
              <a:t>Progress on UN-R 51(2/2)</a:t>
            </a:r>
            <a:endParaRPr lang="en-GB" sz="4000" noProof="0" dirty="0"/>
          </a:p>
        </p:txBody>
      </p:sp>
      <p:sp>
        <p:nvSpPr>
          <p:cNvPr id="3" name="Content Placeholder 2">
            <a:extLst>
              <a:ext uri="{FF2B5EF4-FFF2-40B4-BE49-F238E27FC236}">
                <a16:creationId xmlns:a16="http://schemas.microsoft.com/office/drawing/2014/main" id="{7E921E2B-4A0B-59A2-7721-8DE936F0885E}"/>
              </a:ext>
            </a:extLst>
          </p:cNvPr>
          <p:cNvSpPr>
            <a:spLocks noGrp="1"/>
          </p:cNvSpPr>
          <p:nvPr>
            <p:ph idx="1"/>
          </p:nvPr>
        </p:nvSpPr>
        <p:spPr>
          <a:xfrm>
            <a:off x="838200" y="1547332"/>
            <a:ext cx="10515600" cy="5020835"/>
          </a:xfrm>
        </p:spPr>
        <p:txBody>
          <a:bodyPr>
            <a:normAutofit/>
          </a:bodyPr>
          <a:lstStyle/>
          <a:p>
            <a:pPr algn="just"/>
            <a:r>
              <a:rPr lang="en-GB" noProof="0" dirty="0"/>
              <a:t>To draw the limit line for M1 and N1 EVs, CPs have conducted a measurement campaign (information shared during February 2025 GRBP)</a:t>
            </a:r>
          </a:p>
          <a:p>
            <a:pPr algn="just"/>
            <a:r>
              <a:rPr lang="en-GB" dirty="0"/>
              <a:t>Data collected is available in an anonymized format on the wiki of the subgroup: </a:t>
            </a:r>
            <a:r>
              <a:rPr lang="en-GB" dirty="0">
                <a:hlinkClick r:id="rId2"/>
              </a:rPr>
              <a:t>SG_MD_05_0823_Measurement_Data_anonym.xlsx</a:t>
            </a:r>
            <a:endParaRPr lang="en-GB" dirty="0"/>
          </a:p>
          <a:p>
            <a:pPr algn="just"/>
            <a:r>
              <a:rPr lang="en-GB" noProof="0" dirty="0"/>
              <a:t>Improvements since September 2024 GRBP</a:t>
            </a:r>
          </a:p>
          <a:p>
            <a:pPr lvl="1" algn="just"/>
            <a:r>
              <a:rPr lang="en-GB" dirty="0"/>
              <a:t>the limit lines should be based on the speed of the vehicle (no more reference to the rpm)</a:t>
            </a:r>
          </a:p>
          <a:p>
            <a:pPr lvl="1" algn="just"/>
            <a:r>
              <a:rPr lang="en-GB" dirty="0"/>
              <a:t>t</a:t>
            </a:r>
            <a:r>
              <a:rPr lang="en-GB" noProof="0" dirty="0"/>
              <a:t>he limit lines should be as simple as possible</a:t>
            </a:r>
          </a:p>
        </p:txBody>
      </p:sp>
      <p:sp>
        <p:nvSpPr>
          <p:cNvPr id="4" name="Footer Placeholder 3">
            <a:extLst>
              <a:ext uri="{FF2B5EF4-FFF2-40B4-BE49-F238E27FC236}">
                <a16:creationId xmlns:a16="http://schemas.microsoft.com/office/drawing/2014/main" id="{11D0402E-ED0A-911A-9FF6-AC1CC6EA816B}"/>
              </a:ext>
            </a:extLst>
          </p:cNvPr>
          <p:cNvSpPr>
            <a:spLocks noGrp="1"/>
          </p:cNvSpPr>
          <p:nvPr>
            <p:ph type="ftr" sz="quarter" idx="11"/>
          </p:nvPr>
        </p:nvSpPr>
        <p:spPr/>
        <p:txBody>
          <a:bodyPr/>
          <a:lstStyle/>
          <a:p>
            <a:r>
              <a:rPr lang="en-GB" noProof="0" dirty="0"/>
              <a:t>IWG RD-ASEP SG R138 &amp; R51 / Status Report GRBP-82</a:t>
            </a:r>
          </a:p>
        </p:txBody>
      </p:sp>
      <p:sp>
        <p:nvSpPr>
          <p:cNvPr id="5" name="Slide Number Placeholder 4">
            <a:extLst>
              <a:ext uri="{FF2B5EF4-FFF2-40B4-BE49-F238E27FC236}">
                <a16:creationId xmlns:a16="http://schemas.microsoft.com/office/drawing/2014/main" id="{D1073450-8AF2-3B12-E029-DE485E723FAC}"/>
              </a:ext>
            </a:extLst>
          </p:cNvPr>
          <p:cNvSpPr>
            <a:spLocks noGrp="1"/>
          </p:cNvSpPr>
          <p:nvPr>
            <p:ph type="sldNum" sz="quarter" idx="12"/>
          </p:nvPr>
        </p:nvSpPr>
        <p:spPr/>
        <p:txBody>
          <a:bodyPr/>
          <a:lstStyle/>
          <a:p>
            <a:fld id="{B72E1402-C48D-4BE1-B5C4-3ED179C88C9E}" type="slidenum">
              <a:rPr lang="en-GB" noProof="0" smtClean="0"/>
              <a:t>7</a:t>
            </a:fld>
            <a:endParaRPr lang="en-GB" noProof="0" dirty="0"/>
          </a:p>
        </p:txBody>
      </p:sp>
    </p:spTree>
    <p:extLst>
      <p:ext uri="{BB962C8B-B14F-4D97-AF65-F5344CB8AC3E}">
        <p14:creationId xmlns:p14="http://schemas.microsoft.com/office/powerpoint/2010/main" val="33843822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AD62C7-DFCE-CD44-D746-C4C3450D57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EB5AF0-4948-999A-82FB-7473BC8D3C68}"/>
              </a:ext>
            </a:extLst>
          </p:cNvPr>
          <p:cNvSpPr>
            <a:spLocks noGrp="1"/>
          </p:cNvSpPr>
          <p:nvPr>
            <p:ph type="title"/>
          </p:nvPr>
        </p:nvSpPr>
        <p:spPr/>
        <p:txBody>
          <a:bodyPr/>
          <a:lstStyle/>
          <a:p>
            <a:r>
              <a:rPr lang="en-GB" b="1" dirty="0"/>
              <a:t>Actions needed on UN-R 138(1/2)</a:t>
            </a:r>
            <a:endParaRPr lang="en-GB" noProof="0" dirty="0"/>
          </a:p>
        </p:txBody>
      </p:sp>
      <p:sp>
        <p:nvSpPr>
          <p:cNvPr id="3" name="Content Placeholder 2">
            <a:extLst>
              <a:ext uri="{FF2B5EF4-FFF2-40B4-BE49-F238E27FC236}">
                <a16:creationId xmlns:a16="http://schemas.microsoft.com/office/drawing/2014/main" id="{B55FB730-6D27-CD11-328B-231F143525F0}"/>
              </a:ext>
            </a:extLst>
          </p:cNvPr>
          <p:cNvSpPr>
            <a:spLocks noGrp="1"/>
          </p:cNvSpPr>
          <p:nvPr>
            <p:ph idx="1"/>
          </p:nvPr>
        </p:nvSpPr>
        <p:spPr>
          <a:xfrm>
            <a:off x="838200" y="1522638"/>
            <a:ext cx="10515600" cy="5167993"/>
          </a:xfrm>
        </p:spPr>
        <p:txBody>
          <a:bodyPr>
            <a:normAutofit/>
          </a:bodyPr>
          <a:lstStyle/>
          <a:p>
            <a:pPr algn="just"/>
            <a:r>
              <a:rPr lang="en-GB" sz="2400" dirty="0"/>
              <a:t>Identify and clarify all that needs to be clarified in the current text of UN-R 138: </a:t>
            </a:r>
          </a:p>
          <a:p>
            <a:pPr lvl="1" algn="just"/>
            <a:r>
              <a:rPr lang="en-GB" dirty="0"/>
              <a:t>remove all the grey zones (example: emission of AVAS sound in standstill when the gear lever position is N, requirements applied to the AVAS sound or to the whole vehicle sound, what requirements in the AVAS fade-out speed range) </a:t>
            </a:r>
          </a:p>
          <a:p>
            <a:pPr lvl="1" algn="just"/>
            <a:r>
              <a:rPr lang="en-GB" dirty="0"/>
              <a:t>and clarify where the data introduced in the current text come from (to be able to know when an update is needed).</a:t>
            </a:r>
          </a:p>
          <a:p>
            <a:pPr algn="just"/>
            <a:r>
              <a:rPr lang="en-GB" sz="2400" dirty="0"/>
              <a:t>Identify use-case scenarios in which safety or environment could be an issue and ensure the regulation tackles those cases (example: the AVAS sound can be decreasing as the vehicle speed increases even in the mandatory speed range)</a:t>
            </a:r>
          </a:p>
        </p:txBody>
      </p:sp>
      <p:sp>
        <p:nvSpPr>
          <p:cNvPr id="4" name="Footer Placeholder 3">
            <a:extLst>
              <a:ext uri="{FF2B5EF4-FFF2-40B4-BE49-F238E27FC236}">
                <a16:creationId xmlns:a16="http://schemas.microsoft.com/office/drawing/2014/main" id="{12D0395E-4ED6-BC50-E665-3306D5A17A6A}"/>
              </a:ext>
            </a:extLst>
          </p:cNvPr>
          <p:cNvSpPr>
            <a:spLocks noGrp="1"/>
          </p:cNvSpPr>
          <p:nvPr>
            <p:ph type="ftr" sz="quarter" idx="11"/>
          </p:nvPr>
        </p:nvSpPr>
        <p:spPr/>
        <p:txBody>
          <a:bodyPr/>
          <a:lstStyle/>
          <a:p>
            <a:r>
              <a:rPr lang="en-GB" noProof="0" dirty="0"/>
              <a:t>IWG RD-ASEP SG R138 &amp; R51 / Status Report GRBP-82</a:t>
            </a:r>
          </a:p>
        </p:txBody>
      </p:sp>
      <p:sp>
        <p:nvSpPr>
          <p:cNvPr id="5" name="Slide Number Placeholder 4">
            <a:extLst>
              <a:ext uri="{FF2B5EF4-FFF2-40B4-BE49-F238E27FC236}">
                <a16:creationId xmlns:a16="http://schemas.microsoft.com/office/drawing/2014/main" id="{8C16890C-CCE9-1624-699A-533EE3739AAF}"/>
              </a:ext>
            </a:extLst>
          </p:cNvPr>
          <p:cNvSpPr>
            <a:spLocks noGrp="1"/>
          </p:cNvSpPr>
          <p:nvPr>
            <p:ph type="sldNum" sz="quarter" idx="12"/>
          </p:nvPr>
        </p:nvSpPr>
        <p:spPr/>
        <p:txBody>
          <a:bodyPr/>
          <a:lstStyle/>
          <a:p>
            <a:fld id="{B72E1402-C48D-4BE1-B5C4-3ED179C88C9E}" type="slidenum">
              <a:rPr lang="en-GB" noProof="0" smtClean="0"/>
              <a:t>8</a:t>
            </a:fld>
            <a:endParaRPr lang="en-GB" noProof="0" dirty="0"/>
          </a:p>
        </p:txBody>
      </p:sp>
    </p:spTree>
    <p:extLst>
      <p:ext uri="{BB962C8B-B14F-4D97-AF65-F5344CB8AC3E}">
        <p14:creationId xmlns:p14="http://schemas.microsoft.com/office/powerpoint/2010/main" val="17496950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AD62C7-DFCE-CD44-D746-C4C3450D57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EB5AF0-4948-999A-82FB-7473BC8D3C68}"/>
              </a:ext>
            </a:extLst>
          </p:cNvPr>
          <p:cNvSpPr>
            <a:spLocks noGrp="1"/>
          </p:cNvSpPr>
          <p:nvPr>
            <p:ph type="title"/>
          </p:nvPr>
        </p:nvSpPr>
        <p:spPr/>
        <p:txBody>
          <a:bodyPr/>
          <a:lstStyle/>
          <a:p>
            <a:r>
              <a:rPr lang="en-GB" b="1" dirty="0"/>
              <a:t>Actions needed on UN-R 138(2/2)</a:t>
            </a:r>
            <a:endParaRPr lang="en-GB" noProof="0" dirty="0"/>
          </a:p>
        </p:txBody>
      </p:sp>
      <p:sp>
        <p:nvSpPr>
          <p:cNvPr id="3" name="Content Placeholder 2">
            <a:extLst>
              <a:ext uri="{FF2B5EF4-FFF2-40B4-BE49-F238E27FC236}">
                <a16:creationId xmlns:a16="http://schemas.microsoft.com/office/drawing/2014/main" id="{B55FB730-6D27-CD11-328B-231F143525F0}"/>
              </a:ext>
            </a:extLst>
          </p:cNvPr>
          <p:cNvSpPr>
            <a:spLocks noGrp="1"/>
          </p:cNvSpPr>
          <p:nvPr>
            <p:ph idx="1"/>
          </p:nvPr>
        </p:nvSpPr>
        <p:spPr>
          <a:xfrm>
            <a:off x="838200" y="1690688"/>
            <a:ext cx="10515600" cy="3946751"/>
          </a:xfrm>
        </p:spPr>
        <p:txBody>
          <a:bodyPr>
            <a:normAutofit/>
          </a:bodyPr>
          <a:lstStyle/>
          <a:p>
            <a:pPr algn="just"/>
            <a:r>
              <a:rPr lang="en-GB" dirty="0"/>
              <a:t>Need to ensure there can be no sound discontinuities</a:t>
            </a:r>
          </a:p>
          <a:p>
            <a:r>
              <a:rPr lang="en-GB" dirty="0"/>
              <a:t>Need to ensure a good handshake with UN-R 51</a:t>
            </a:r>
          </a:p>
          <a:p>
            <a:pPr lvl="1"/>
            <a:r>
              <a:rPr lang="en-GB" dirty="0"/>
              <a:t>the possibility to emit optional sound should not jeopardize safety</a:t>
            </a:r>
          </a:p>
          <a:p>
            <a:pPr lvl="1"/>
            <a:r>
              <a:rPr lang="en-GB" dirty="0"/>
              <a:t>limit at standstill is not in UN-R 51, this needs to be addressed</a:t>
            </a:r>
          </a:p>
          <a:p>
            <a:pPr lvl="1"/>
            <a:r>
              <a:rPr lang="en-GB" dirty="0"/>
              <a:t>ASEP (annex 7 of UNR-R 51) would only be for M1 and N1 vehicles</a:t>
            </a:r>
          </a:p>
          <a:p>
            <a:pPr marL="457200" lvl="1" indent="0">
              <a:buNone/>
            </a:pPr>
            <a:r>
              <a:rPr lang="en-GB" dirty="0"/>
              <a:t>The idea of having minimum SPLs in UN-R 138 for safety purpose and maximum SPLs in UN-R 51 for environmental purpose, although valid, would require more work and time to be implemented and is not selected by the subgroup at this stage.</a:t>
            </a:r>
          </a:p>
        </p:txBody>
      </p:sp>
      <p:sp>
        <p:nvSpPr>
          <p:cNvPr id="4" name="Footer Placeholder 3">
            <a:extLst>
              <a:ext uri="{FF2B5EF4-FFF2-40B4-BE49-F238E27FC236}">
                <a16:creationId xmlns:a16="http://schemas.microsoft.com/office/drawing/2014/main" id="{12D0395E-4ED6-BC50-E665-3306D5A17A6A}"/>
              </a:ext>
            </a:extLst>
          </p:cNvPr>
          <p:cNvSpPr>
            <a:spLocks noGrp="1"/>
          </p:cNvSpPr>
          <p:nvPr>
            <p:ph type="ftr" sz="quarter" idx="11"/>
          </p:nvPr>
        </p:nvSpPr>
        <p:spPr/>
        <p:txBody>
          <a:bodyPr/>
          <a:lstStyle/>
          <a:p>
            <a:r>
              <a:rPr lang="en-GB" noProof="0" dirty="0"/>
              <a:t>IWG RD-ASEP SG R138 &amp; R51 / Status Report GRBP-82</a:t>
            </a:r>
          </a:p>
        </p:txBody>
      </p:sp>
      <p:sp>
        <p:nvSpPr>
          <p:cNvPr id="5" name="Slide Number Placeholder 4">
            <a:extLst>
              <a:ext uri="{FF2B5EF4-FFF2-40B4-BE49-F238E27FC236}">
                <a16:creationId xmlns:a16="http://schemas.microsoft.com/office/drawing/2014/main" id="{8C16890C-CCE9-1624-699A-533EE3739AAF}"/>
              </a:ext>
            </a:extLst>
          </p:cNvPr>
          <p:cNvSpPr>
            <a:spLocks noGrp="1"/>
          </p:cNvSpPr>
          <p:nvPr>
            <p:ph type="sldNum" sz="quarter" idx="12"/>
          </p:nvPr>
        </p:nvSpPr>
        <p:spPr/>
        <p:txBody>
          <a:bodyPr/>
          <a:lstStyle/>
          <a:p>
            <a:fld id="{B72E1402-C48D-4BE1-B5C4-3ED179C88C9E}" type="slidenum">
              <a:rPr lang="en-GB" noProof="0" smtClean="0"/>
              <a:t>9</a:t>
            </a:fld>
            <a:endParaRPr lang="en-GB" noProof="0" dirty="0"/>
          </a:p>
        </p:txBody>
      </p:sp>
    </p:spTree>
    <p:extLst>
      <p:ext uri="{BB962C8B-B14F-4D97-AF65-F5344CB8AC3E}">
        <p14:creationId xmlns:p14="http://schemas.microsoft.com/office/powerpoint/2010/main" val="21388445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155AECABBB2A674ABC9B322DAD0681C4" ma:contentTypeVersion="18" ma:contentTypeDescription="Ein neues Dokument erstellen." ma:contentTypeScope="" ma:versionID="e9f7fe049d3b5bc46ef85467822be8e2">
  <xsd:schema xmlns:xsd="http://www.w3.org/2001/XMLSchema" xmlns:xs="http://www.w3.org/2001/XMLSchema" xmlns:p="http://schemas.microsoft.com/office/2006/metadata/properties" xmlns:ns2="2a3fb2cc-5f38-47d7-9908-d050719f8639" xmlns:ns3="e81dc004-5eed-49b2-aa1a-01cff2859a94" targetNamespace="http://schemas.microsoft.com/office/2006/metadata/properties" ma:root="true" ma:fieldsID="d7b4ec9056e866809c06b395f9aecd00" ns2:_="" ns3:_="">
    <xsd:import namespace="2a3fb2cc-5f38-47d7-9908-d050719f8639"/>
    <xsd:import namespace="e81dc004-5eed-49b2-aa1a-01cff2859a9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GenerationTime" minOccurs="0"/>
                <xsd:element ref="ns2:MediaServiceEventHashCode" minOccurs="0"/>
                <xsd:element ref="ns2:MediaServiceLocation" minOccurs="0"/>
                <xsd:element ref="ns3:SharedWithUsers" minOccurs="0"/>
                <xsd:element ref="ns3:SharedWithDetails" minOccurs="0"/>
                <xsd:element ref="ns2:MediaServiceOCR" minOccurs="0"/>
                <xsd:element ref="ns2:MediaServiceAutoKeyPoints" minOccurs="0"/>
                <xsd:element ref="ns2:MediaServiceKeyPoint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3fb2cc-5f38-47d7-9908-d050719f863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Bildmarkierungen" ma:readOnly="false" ma:fieldId="{5cf76f15-5ced-4ddc-b409-7134ff3c332f}" ma:taxonomyMulti="true" ma:sspId="9304a2f2-5654-4392-bac9-cc8d75b659a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81dc004-5eed-49b2-aa1a-01cff2859a94"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element name="TaxCatchAll" ma:index="22" nillable="true" ma:displayName="Taxonomy Catch All Column" ma:hidden="true" ma:list="{384af8a3-f246-4c80-814a-2bc1721e13f8}" ma:internalName="TaxCatchAll" ma:showField="CatchAllData" ma:web="e81dc004-5eed-49b2-aa1a-01cff2859a9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a3fb2cc-5f38-47d7-9908-d050719f8639">
      <Terms xmlns="http://schemas.microsoft.com/office/infopath/2007/PartnerControls"/>
    </lcf76f155ced4ddcb4097134ff3c332f>
    <TaxCatchAll xmlns="e81dc004-5eed-49b2-aa1a-01cff2859a9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7F674BA-EDA8-4B06-AAD2-02811C3FC1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a3fb2cc-5f38-47d7-9908-d050719f8639"/>
    <ds:schemaRef ds:uri="e81dc004-5eed-49b2-aa1a-01cff2859a9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A6313C-E99A-49E1-A929-EDE7528A7752}">
  <ds:schemaRefs>
    <ds:schemaRef ds:uri="http://schemas.microsoft.com/office/2006/metadata/properties"/>
    <ds:schemaRef ds:uri="http://schemas.microsoft.com/office/infopath/2007/PartnerControls"/>
    <ds:schemaRef ds:uri="2a3fb2cc-5f38-47d7-9908-d050719f8639"/>
    <ds:schemaRef ds:uri="e81dc004-5eed-49b2-aa1a-01cff2859a94"/>
  </ds:schemaRefs>
</ds:datastoreItem>
</file>

<file path=customXml/itemProps3.xml><?xml version="1.0" encoding="utf-8"?>
<ds:datastoreItem xmlns:ds="http://schemas.openxmlformats.org/officeDocument/2006/customXml" ds:itemID="{73D57C85-6694-4B3D-BB56-D71E22674A1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156</Words>
  <Application>Microsoft Office PowerPoint</Application>
  <PresentationFormat>Widescreen</PresentationFormat>
  <Paragraphs>92</Paragraphs>
  <Slides>10</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7" baseType="lpstr">
      <vt:lpstr>DengXian</vt:lpstr>
      <vt:lpstr>Aptos</vt:lpstr>
      <vt:lpstr>Aptos Display</vt:lpstr>
      <vt:lpstr>Arial</vt:lpstr>
      <vt:lpstr>Wingdings</vt:lpstr>
      <vt:lpstr>Kantoorthema</vt:lpstr>
      <vt:lpstr>think-cell Folie</vt:lpstr>
      <vt:lpstr>Report to 82nd Session of GRBP (September 2025)</vt:lpstr>
      <vt:lpstr>IWG RD-ASEP Subgroup on UN-R 138 and UN-R 51</vt:lpstr>
      <vt:lpstr>Objectives of the subgroup</vt:lpstr>
      <vt:lpstr>Method and main orientations of the subgroup (1/2)</vt:lpstr>
      <vt:lpstr>Method and main orientations of the subgroup (2/2)</vt:lpstr>
      <vt:lpstr>Progress on UN-R 51(1/2)</vt:lpstr>
      <vt:lpstr>Progress on UN-R 51(2/2)</vt:lpstr>
      <vt:lpstr>Actions needed on UN-R 138(1/2)</vt:lpstr>
      <vt:lpstr>Actions needed on UN-R 138(2/2)</vt:lpstr>
      <vt:lpstr>Thank you for your attention.</vt:lpstr>
    </vt:vector>
  </TitlesOfParts>
  <Company>RDW Dienst Wegverke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F-AVRS GRBP</dc:title>
  <dc:creator>Boersma, Jan Sybren</dc:creator>
  <cp:lastModifiedBy>Annett Schuessling / VDA</cp:lastModifiedBy>
  <cp:revision>222</cp:revision>
  <cp:lastPrinted>2025-01-30T08:00:42Z</cp:lastPrinted>
  <dcterms:created xsi:type="dcterms:W3CDTF">2024-06-10T06:33:31Z</dcterms:created>
  <dcterms:modified xsi:type="dcterms:W3CDTF">2025-08-29T11:07: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bd9ddd1-4d20-43f6-abfa-fc3c07406f94_Enabled">
    <vt:lpwstr>true</vt:lpwstr>
  </property>
  <property fmtid="{D5CDD505-2E9C-101B-9397-08002B2CF9AE}" pid="3" name="MSIP_Label_6bd9ddd1-4d20-43f6-abfa-fc3c07406f94_SetDate">
    <vt:lpwstr>2025-01-29T15:25:59Z</vt:lpwstr>
  </property>
  <property fmtid="{D5CDD505-2E9C-101B-9397-08002B2CF9AE}" pid="4" name="MSIP_Label_6bd9ddd1-4d20-43f6-abfa-fc3c07406f94_Method">
    <vt:lpwstr>Standard</vt:lpwstr>
  </property>
  <property fmtid="{D5CDD505-2E9C-101B-9397-08002B2CF9AE}" pid="5" name="MSIP_Label_6bd9ddd1-4d20-43f6-abfa-fc3c07406f94_Name">
    <vt:lpwstr>Commission Use</vt:lpwstr>
  </property>
  <property fmtid="{D5CDD505-2E9C-101B-9397-08002B2CF9AE}" pid="6" name="MSIP_Label_6bd9ddd1-4d20-43f6-abfa-fc3c07406f94_SiteId">
    <vt:lpwstr>b24c8b06-522c-46fe-9080-70926f8dddb1</vt:lpwstr>
  </property>
  <property fmtid="{D5CDD505-2E9C-101B-9397-08002B2CF9AE}" pid="7" name="MSIP_Label_6bd9ddd1-4d20-43f6-abfa-fc3c07406f94_ActionId">
    <vt:lpwstr>ee728724-dca7-4fce-9964-90323e536be5</vt:lpwstr>
  </property>
  <property fmtid="{D5CDD505-2E9C-101B-9397-08002B2CF9AE}" pid="8" name="MSIP_Label_6bd9ddd1-4d20-43f6-abfa-fc3c07406f94_ContentBits">
    <vt:lpwstr>0</vt:lpwstr>
  </property>
  <property fmtid="{D5CDD505-2E9C-101B-9397-08002B2CF9AE}" pid="9" name="ContentTypeId">
    <vt:lpwstr>0x010100155AECABBB2A674ABC9B322DAD0681C4</vt:lpwstr>
  </property>
  <property fmtid="{D5CDD505-2E9C-101B-9397-08002B2CF9AE}" pid="10" name="MediaServiceImageTags">
    <vt:lpwstr/>
  </property>
</Properties>
</file>